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6" r:id="rId4"/>
    <p:sldMasterId id="2147483690" r:id="rId5"/>
    <p:sldMasterId id="2147483742" r:id="rId6"/>
  </p:sldMasterIdLst>
  <p:notesMasterIdLst>
    <p:notesMasterId r:id="rId13"/>
  </p:notesMasterIdLst>
  <p:handoutMasterIdLst>
    <p:handoutMasterId r:id="rId14"/>
  </p:handoutMasterIdLst>
  <p:sldIdLst>
    <p:sldId id="273" r:id="rId7"/>
    <p:sldId id="282" r:id="rId8"/>
    <p:sldId id="2147482497" r:id="rId9"/>
    <p:sldId id="2147482498" r:id="rId10"/>
    <p:sldId id="2147482499" r:id="rId11"/>
    <p:sldId id="2147482487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BD0745B-C471-1C2E-A293-A668CFB274B0}" name="Charles Anderson" initials="CA" userId="S::charles.anderson@mandfhealth.com::5143c92b-4886-4878-9339-0f0b70b3a4e9" providerId="AD"/>
  <p188:author id="{355AFEB3-33AA-CA2E-1A8E-45960550B070}" name="Ben Whitehouse" initials="BW" userId="S::bewh@ascendispharma.com::6ed7d677-5afd-4155-aeb4-3c27d8423762" providerId="AD"/>
  <p188:author id="{83DB53BB-0D3F-C0D7-EC79-5A65F2FD7755}" name="Lisa Cave" initials="LC" userId="S::lisa.cave@mandfhealth.com::13fc95ab-bd00-44d5-b837-ad1ca269e54c" providerId="AD"/>
  <p188:author id="{B6AFECBC-71E4-FB63-148C-FE2C63E215CC}" name="Reshma Parmar" initials="RP" userId="S::reshmaparmar@mandfhealth.com::2ed984a3-5d1c-4903-bfe1-e79f7e2c27aa" providerId="AD"/>
  <p188:author id="{F1D454C2-68B1-2250-9F2B-857BBC8DF8F5}" name="Rachael Tolfrey" initials="RT" userId="S::rachael.tolfrey@mandfhealth.com::a88a1477-40eb-4c06-9bf1-a39ad2777788" providerId="AD"/>
  <p188:author id="{FC2BEACD-2408-D907-D181-0E81547B70C0}" name="Pia Beltrão Hansen" initials="PH" userId="S::pbh@ascendispharma.com::0787c919-d403-453c-be31-870e21b6514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AAA5599-0379-476A-81C0-0795F5ACD293}" v="16" dt="2025-05-15T09:32:42.118"/>
    <p1510:client id="{D2E7A6F3-93BC-4BD8-9BE2-1276E48422A4}" v="95" dt="2025-05-15T09:58:04.032"/>
    <p1510:client id="{D3AAD440-DD06-4F1A-9CAA-1F2E7F7C93D3}" v="34" dt="2025-05-15T14:33:16.846"/>
  </p1510:revLst>
</p1510:revInfo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Relationship Id="rId22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irsty Baldry" userId="8361c494-0240-43c0-9433-383073b3f2a1" providerId="ADAL" clId="{D2E7A6F3-93BC-4BD8-9BE2-1276E48422A4}"/>
    <pc:docChg chg="undo custSel addSld delSld modSld sldOrd">
      <pc:chgData name="Kirsty Baldry" userId="8361c494-0240-43c0-9433-383073b3f2a1" providerId="ADAL" clId="{D2E7A6F3-93BC-4BD8-9BE2-1276E48422A4}" dt="2025-05-15T09:58:04.032" v="95" actId="164"/>
      <pc:docMkLst>
        <pc:docMk/>
      </pc:docMkLst>
      <pc:sldChg chg="addSp delSp modSp mod">
        <pc:chgData name="Kirsty Baldry" userId="8361c494-0240-43c0-9433-383073b3f2a1" providerId="ADAL" clId="{D2E7A6F3-93BC-4BD8-9BE2-1276E48422A4}" dt="2025-05-15T09:47:56.157" v="39" actId="1076"/>
        <pc:sldMkLst>
          <pc:docMk/>
          <pc:sldMk cId="3677818150" sldId="2147482487"/>
        </pc:sldMkLst>
        <pc:picChg chg="del">
          <ac:chgData name="Kirsty Baldry" userId="8361c494-0240-43c0-9433-383073b3f2a1" providerId="ADAL" clId="{D2E7A6F3-93BC-4BD8-9BE2-1276E48422A4}" dt="2025-05-15T09:47:47.239" v="31" actId="478"/>
          <ac:picMkLst>
            <pc:docMk/>
            <pc:sldMk cId="3677818150" sldId="2147482487"/>
            <ac:picMk id="8" creationId="{2ED8DE0B-AF56-DE89-6537-CF0349D5017F}"/>
          </ac:picMkLst>
        </pc:picChg>
        <pc:picChg chg="add mod">
          <ac:chgData name="Kirsty Baldry" userId="8361c494-0240-43c0-9433-383073b3f2a1" providerId="ADAL" clId="{D2E7A6F3-93BC-4BD8-9BE2-1276E48422A4}" dt="2025-05-15T09:47:56.157" v="39" actId="1076"/>
          <ac:picMkLst>
            <pc:docMk/>
            <pc:sldMk cId="3677818150" sldId="2147482487"/>
            <ac:picMk id="10" creationId="{DA389B9F-7123-882B-BA07-C4FCE8CB83EE}"/>
          </ac:picMkLst>
        </pc:picChg>
        <pc:picChg chg="del">
          <ac:chgData name="Kirsty Baldry" userId="8361c494-0240-43c0-9433-383073b3f2a1" providerId="ADAL" clId="{D2E7A6F3-93BC-4BD8-9BE2-1276E48422A4}" dt="2025-05-15T09:47:52.911" v="36" actId="478"/>
          <ac:picMkLst>
            <pc:docMk/>
            <pc:sldMk cId="3677818150" sldId="2147482487"/>
            <ac:picMk id="20" creationId="{32B3C52B-DAF3-6120-5713-C52814040745}"/>
          </ac:picMkLst>
        </pc:picChg>
      </pc:sldChg>
      <pc:sldChg chg="addSp modSp mod">
        <pc:chgData name="Kirsty Baldry" userId="8361c494-0240-43c0-9433-383073b3f2a1" providerId="ADAL" clId="{D2E7A6F3-93BC-4BD8-9BE2-1276E48422A4}" dt="2025-05-15T09:52:52.466" v="63" actId="1076"/>
        <pc:sldMkLst>
          <pc:docMk/>
          <pc:sldMk cId="273278180" sldId="2147482500"/>
        </pc:sldMkLst>
        <pc:picChg chg="mod">
          <ac:chgData name="Kirsty Baldry" userId="8361c494-0240-43c0-9433-383073b3f2a1" providerId="ADAL" clId="{D2E7A6F3-93BC-4BD8-9BE2-1276E48422A4}" dt="2025-05-15T09:52:52.466" v="63" actId="1076"/>
          <ac:picMkLst>
            <pc:docMk/>
            <pc:sldMk cId="273278180" sldId="2147482500"/>
            <ac:picMk id="2" creationId="{75E0DAAA-3331-20F6-E751-EB30BCA71503}"/>
          </ac:picMkLst>
        </pc:picChg>
        <pc:picChg chg="add mod">
          <ac:chgData name="Kirsty Baldry" userId="8361c494-0240-43c0-9433-383073b3f2a1" providerId="ADAL" clId="{D2E7A6F3-93BC-4BD8-9BE2-1276E48422A4}" dt="2025-05-15T09:49:53.669" v="48" actId="1076"/>
          <ac:picMkLst>
            <pc:docMk/>
            <pc:sldMk cId="273278180" sldId="2147482500"/>
            <ac:picMk id="4" creationId="{E9AF7A42-0D83-C38C-A4F1-0FEB4A997E8B}"/>
          </ac:picMkLst>
        </pc:picChg>
      </pc:sldChg>
      <pc:sldChg chg="addSp modSp mod">
        <pc:chgData name="Kirsty Baldry" userId="8361c494-0240-43c0-9433-383073b3f2a1" providerId="ADAL" clId="{D2E7A6F3-93BC-4BD8-9BE2-1276E48422A4}" dt="2025-05-15T09:54:44.550" v="81" actId="164"/>
        <pc:sldMkLst>
          <pc:docMk/>
          <pc:sldMk cId="3568366230" sldId="2147482504"/>
        </pc:sldMkLst>
        <pc:grpChg chg="add mod">
          <ac:chgData name="Kirsty Baldry" userId="8361c494-0240-43c0-9433-383073b3f2a1" providerId="ADAL" clId="{D2E7A6F3-93BC-4BD8-9BE2-1276E48422A4}" dt="2025-05-15T09:54:44.550" v="81" actId="164"/>
          <ac:grpSpMkLst>
            <pc:docMk/>
            <pc:sldMk cId="3568366230" sldId="2147482504"/>
            <ac:grpSpMk id="6" creationId="{30713CB0-DA12-C73E-92B3-E968DBF01387}"/>
          </ac:grpSpMkLst>
        </pc:grpChg>
        <pc:picChg chg="mod">
          <ac:chgData name="Kirsty Baldry" userId="8361c494-0240-43c0-9433-383073b3f2a1" providerId="ADAL" clId="{D2E7A6F3-93BC-4BD8-9BE2-1276E48422A4}" dt="2025-05-15T09:54:44.550" v="81" actId="164"/>
          <ac:picMkLst>
            <pc:docMk/>
            <pc:sldMk cId="3568366230" sldId="2147482504"/>
            <ac:picMk id="2" creationId="{5A4C9C3B-17D1-B3B8-9382-D3CA06DFBAD2}"/>
          </ac:picMkLst>
        </pc:picChg>
        <pc:picChg chg="add mod modCrop">
          <ac:chgData name="Kirsty Baldry" userId="8361c494-0240-43c0-9433-383073b3f2a1" providerId="ADAL" clId="{D2E7A6F3-93BC-4BD8-9BE2-1276E48422A4}" dt="2025-05-15T09:54:44.550" v="81" actId="164"/>
          <ac:picMkLst>
            <pc:docMk/>
            <pc:sldMk cId="3568366230" sldId="2147482504"/>
            <ac:picMk id="5" creationId="{66ADCA44-8EEC-BC04-E5AA-8AA4862AD15F}"/>
          </ac:picMkLst>
        </pc:picChg>
      </pc:sldChg>
      <pc:sldChg chg="addSp delSp modSp add del mod">
        <pc:chgData name="Kirsty Baldry" userId="8361c494-0240-43c0-9433-383073b3f2a1" providerId="ADAL" clId="{D2E7A6F3-93BC-4BD8-9BE2-1276E48422A4}" dt="2025-05-15T09:47:25.811" v="29" actId="47"/>
        <pc:sldMkLst>
          <pc:docMk/>
          <pc:sldMk cId="3837245851" sldId="2147482505"/>
        </pc:sldMkLst>
        <pc:picChg chg="add del mod modCrop">
          <ac:chgData name="Kirsty Baldry" userId="8361c494-0240-43c0-9433-383073b3f2a1" providerId="ADAL" clId="{D2E7A6F3-93BC-4BD8-9BE2-1276E48422A4}" dt="2025-05-15T09:37:40.314" v="9" actId="478"/>
          <ac:picMkLst>
            <pc:docMk/>
            <pc:sldMk cId="3837245851" sldId="2147482505"/>
            <ac:picMk id="5" creationId="{244E4AE6-E3EE-1ACF-D0EB-E3C6DEF1790A}"/>
          </ac:picMkLst>
        </pc:picChg>
        <pc:picChg chg="add mod">
          <ac:chgData name="Kirsty Baldry" userId="8361c494-0240-43c0-9433-383073b3f2a1" providerId="ADAL" clId="{D2E7A6F3-93BC-4BD8-9BE2-1276E48422A4}" dt="2025-05-15T09:43:27.741" v="15" actId="1076"/>
          <ac:picMkLst>
            <pc:docMk/>
            <pc:sldMk cId="3837245851" sldId="2147482505"/>
            <ac:picMk id="7" creationId="{1C59B1AC-EE2A-480C-07A7-4D3A814872C2}"/>
          </ac:picMkLst>
        </pc:picChg>
      </pc:sldChg>
      <pc:sldChg chg="addSp delSp modSp add del mod">
        <pc:chgData name="Kirsty Baldry" userId="8361c494-0240-43c0-9433-383073b3f2a1" providerId="ADAL" clId="{D2E7A6F3-93BC-4BD8-9BE2-1276E48422A4}" dt="2025-05-15T09:53:22.569" v="68" actId="47"/>
        <pc:sldMkLst>
          <pc:docMk/>
          <pc:sldMk cId="2164811212" sldId="2147482506"/>
        </pc:sldMkLst>
        <pc:picChg chg="del">
          <ac:chgData name="Kirsty Baldry" userId="8361c494-0240-43c0-9433-383073b3f2a1" providerId="ADAL" clId="{D2E7A6F3-93BC-4BD8-9BE2-1276E48422A4}" dt="2025-05-15T09:52:26.957" v="57" actId="478"/>
          <ac:picMkLst>
            <pc:docMk/>
            <pc:sldMk cId="2164811212" sldId="2147482506"/>
            <ac:picMk id="2" creationId="{09E32350-4AB3-2A8D-6EC1-80C89D1A5C56}"/>
          </ac:picMkLst>
        </pc:picChg>
        <pc:picChg chg="add del mod modCrop">
          <ac:chgData name="Kirsty Baldry" userId="8361c494-0240-43c0-9433-383073b3f2a1" providerId="ADAL" clId="{D2E7A6F3-93BC-4BD8-9BE2-1276E48422A4}" dt="2025-05-15T09:49:14.821" v="40" actId="478"/>
          <ac:picMkLst>
            <pc:docMk/>
            <pc:sldMk cId="2164811212" sldId="2147482506"/>
            <ac:picMk id="5" creationId="{DDF6A76F-F80E-F292-1ADF-8875D1BF89BD}"/>
          </ac:picMkLst>
        </pc:picChg>
        <pc:picChg chg="add del mod">
          <ac:chgData name="Kirsty Baldry" userId="8361c494-0240-43c0-9433-383073b3f2a1" providerId="ADAL" clId="{D2E7A6F3-93BC-4BD8-9BE2-1276E48422A4}" dt="2025-05-15T09:52:28.021" v="58" actId="478"/>
          <ac:picMkLst>
            <pc:docMk/>
            <pc:sldMk cId="2164811212" sldId="2147482506"/>
            <ac:picMk id="7" creationId="{BCFEB7B5-9BF3-9CB4-E910-2A8C484748A4}"/>
          </ac:picMkLst>
        </pc:picChg>
        <pc:picChg chg="add del mod">
          <ac:chgData name="Kirsty Baldry" userId="8361c494-0240-43c0-9433-383073b3f2a1" providerId="ADAL" clId="{D2E7A6F3-93BC-4BD8-9BE2-1276E48422A4}" dt="2025-05-15T09:53:19.685" v="67" actId="478"/>
          <ac:picMkLst>
            <pc:docMk/>
            <pc:sldMk cId="2164811212" sldId="2147482506"/>
            <ac:picMk id="8" creationId="{E6133DFC-F717-3AEC-D2A0-C4F4021E9FBE}"/>
          </ac:picMkLst>
        </pc:picChg>
      </pc:sldChg>
      <pc:sldChg chg="addSp delSp modSp add mod">
        <pc:chgData name="Kirsty Baldry" userId="8361c494-0240-43c0-9433-383073b3f2a1" providerId="ADAL" clId="{D2E7A6F3-93BC-4BD8-9BE2-1276E48422A4}" dt="2025-05-15T09:53:05.429" v="64" actId="164"/>
        <pc:sldMkLst>
          <pc:docMk/>
          <pc:sldMk cId="3585873108" sldId="2147482507"/>
        </pc:sldMkLst>
        <pc:grpChg chg="add mod">
          <ac:chgData name="Kirsty Baldry" userId="8361c494-0240-43c0-9433-383073b3f2a1" providerId="ADAL" clId="{D2E7A6F3-93BC-4BD8-9BE2-1276E48422A4}" dt="2025-05-15T09:53:05.429" v="64" actId="164"/>
          <ac:grpSpMkLst>
            <pc:docMk/>
            <pc:sldMk cId="3585873108" sldId="2147482507"/>
            <ac:grpSpMk id="7" creationId="{E7D4B69C-E47A-1258-337C-EE5A71D2AE31}"/>
          </ac:grpSpMkLst>
        </pc:grpChg>
        <pc:picChg chg="mod">
          <ac:chgData name="Kirsty Baldry" userId="8361c494-0240-43c0-9433-383073b3f2a1" providerId="ADAL" clId="{D2E7A6F3-93BC-4BD8-9BE2-1276E48422A4}" dt="2025-05-15T09:53:05.429" v="64" actId="164"/>
          <ac:picMkLst>
            <pc:docMk/>
            <pc:sldMk cId="3585873108" sldId="2147482507"/>
            <ac:picMk id="2" creationId="{0804B413-9DE2-A537-BC83-FFAB19820935}"/>
          </ac:picMkLst>
        </pc:picChg>
        <pc:picChg chg="del">
          <ac:chgData name="Kirsty Baldry" userId="8361c494-0240-43c0-9433-383073b3f2a1" providerId="ADAL" clId="{D2E7A6F3-93BC-4BD8-9BE2-1276E48422A4}" dt="2025-05-15T09:51:22.893" v="50" actId="478"/>
          <ac:picMkLst>
            <pc:docMk/>
            <pc:sldMk cId="3585873108" sldId="2147482507"/>
            <ac:picMk id="4" creationId="{33347279-CB59-6C93-6207-EBA7213B6CB5}"/>
          </ac:picMkLst>
        </pc:picChg>
        <pc:picChg chg="add mod">
          <ac:chgData name="Kirsty Baldry" userId="8361c494-0240-43c0-9433-383073b3f2a1" providerId="ADAL" clId="{D2E7A6F3-93BC-4BD8-9BE2-1276E48422A4}" dt="2025-05-15T09:53:05.429" v="64" actId="164"/>
          <ac:picMkLst>
            <pc:docMk/>
            <pc:sldMk cId="3585873108" sldId="2147482507"/>
            <ac:picMk id="6" creationId="{98D1824D-5F70-C10C-6ED5-1D76323800C8}"/>
          </ac:picMkLst>
        </pc:picChg>
      </pc:sldChg>
      <pc:sldChg chg="addSp modSp add mod ord">
        <pc:chgData name="Kirsty Baldry" userId="8361c494-0240-43c0-9433-383073b3f2a1" providerId="ADAL" clId="{D2E7A6F3-93BC-4BD8-9BE2-1276E48422A4}" dt="2025-05-15T09:58:04.032" v="95" actId="164"/>
        <pc:sldMkLst>
          <pc:docMk/>
          <pc:sldMk cId="2072042881" sldId="2147482508"/>
        </pc:sldMkLst>
        <pc:grpChg chg="add mod">
          <ac:chgData name="Kirsty Baldry" userId="8361c494-0240-43c0-9433-383073b3f2a1" providerId="ADAL" clId="{D2E7A6F3-93BC-4BD8-9BE2-1276E48422A4}" dt="2025-05-15T09:58:04.032" v="95" actId="164"/>
          <ac:grpSpMkLst>
            <pc:docMk/>
            <pc:sldMk cId="2072042881" sldId="2147482508"/>
            <ac:grpSpMk id="6" creationId="{77D2E6DB-867C-0F72-51AC-B07622EB5488}"/>
          </ac:grpSpMkLst>
        </pc:grpChg>
        <pc:picChg chg="add mod">
          <ac:chgData name="Kirsty Baldry" userId="8361c494-0240-43c0-9433-383073b3f2a1" providerId="ADAL" clId="{D2E7A6F3-93BC-4BD8-9BE2-1276E48422A4}" dt="2025-05-15T09:58:04.032" v="95" actId="164"/>
          <ac:picMkLst>
            <pc:docMk/>
            <pc:sldMk cId="2072042881" sldId="2147482508"/>
            <ac:picMk id="4" creationId="{A4A86A9A-B3E2-A481-C980-8402520312B3}"/>
          </ac:picMkLst>
        </pc:picChg>
        <pc:picChg chg="mod">
          <ac:chgData name="Kirsty Baldry" userId="8361c494-0240-43c0-9433-383073b3f2a1" providerId="ADAL" clId="{D2E7A6F3-93BC-4BD8-9BE2-1276E48422A4}" dt="2025-05-15T09:58:04.032" v="95" actId="164"/>
          <ac:picMkLst>
            <pc:docMk/>
            <pc:sldMk cId="2072042881" sldId="2147482508"/>
            <ac:picMk id="5" creationId="{B72E831E-6BDE-9FCE-CBB6-73212721505C}"/>
          </ac:picMkLst>
        </pc:picChg>
      </pc:sldChg>
    </pc:docChg>
  </pc:docChgLst>
  <pc:docChgLst>
    <pc:chgData name="Reshma Parmar" userId="2ed984a3-5d1c-4903-bfe1-e79f7e2c27aa" providerId="ADAL" clId="{D3AAD440-DD06-4F1A-9CAA-1F2E7F7C93D3}"/>
    <pc:docChg chg="undo redo custSel addSld delSld modSld sldOrd">
      <pc:chgData name="Reshma Parmar" userId="2ed984a3-5d1c-4903-bfe1-e79f7e2c27aa" providerId="ADAL" clId="{D3AAD440-DD06-4F1A-9CAA-1F2E7F7C93D3}" dt="2025-05-15T15:15:03.994" v="66" actId="14100"/>
      <pc:docMkLst>
        <pc:docMk/>
      </pc:docMkLst>
      <pc:sldChg chg="modSp mod">
        <pc:chgData name="Reshma Parmar" userId="2ed984a3-5d1c-4903-bfe1-e79f7e2c27aa" providerId="ADAL" clId="{D3AAD440-DD06-4F1A-9CAA-1F2E7F7C93D3}" dt="2025-05-15T15:15:03.994" v="66" actId="14100"/>
        <pc:sldMkLst>
          <pc:docMk/>
          <pc:sldMk cId="2367293042" sldId="282"/>
        </pc:sldMkLst>
        <pc:picChg chg="mod">
          <ac:chgData name="Reshma Parmar" userId="2ed984a3-5d1c-4903-bfe1-e79f7e2c27aa" providerId="ADAL" clId="{D3AAD440-DD06-4F1A-9CAA-1F2E7F7C93D3}" dt="2025-05-15T15:15:03.994" v="66" actId="14100"/>
          <ac:picMkLst>
            <pc:docMk/>
            <pc:sldMk cId="2367293042" sldId="282"/>
            <ac:picMk id="5" creationId="{C130BE4F-DC81-81B6-E877-E816BFD4C0FF}"/>
          </ac:picMkLst>
        </pc:picChg>
      </pc:sldChg>
      <pc:sldChg chg="add del ord">
        <pc:chgData name="Reshma Parmar" userId="2ed984a3-5d1c-4903-bfe1-e79f7e2c27aa" providerId="ADAL" clId="{D3AAD440-DD06-4F1A-9CAA-1F2E7F7C93D3}" dt="2025-05-15T14:56:58.494" v="65" actId="20578"/>
        <pc:sldMkLst>
          <pc:docMk/>
          <pc:sldMk cId="3677818150" sldId="2147482487"/>
        </pc:sldMkLst>
      </pc:sldChg>
      <pc:sldChg chg="add del">
        <pc:chgData name="Reshma Parmar" userId="2ed984a3-5d1c-4903-bfe1-e79f7e2c27aa" providerId="ADAL" clId="{D3AAD440-DD06-4F1A-9CAA-1F2E7F7C93D3}" dt="2025-05-15T14:56:32.080" v="52" actId="47"/>
        <pc:sldMkLst>
          <pc:docMk/>
          <pc:sldMk cId="2943374012" sldId="2147482491"/>
        </pc:sldMkLst>
      </pc:sldChg>
      <pc:sldChg chg="add del">
        <pc:chgData name="Reshma Parmar" userId="2ed984a3-5d1c-4903-bfe1-e79f7e2c27aa" providerId="ADAL" clId="{D3AAD440-DD06-4F1A-9CAA-1F2E7F7C93D3}" dt="2025-05-15T14:56:35.382" v="53" actId="47"/>
        <pc:sldMkLst>
          <pc:docMk/>
          <pc:sldMk cId="273278180" sldId="2147482500"/>
        </pc:sldMkLst>
      </pc:sldChg>
      <pc:sldChg chg="add del">
        <pc:chgData name="Reshma Parmar" userId="2ed984a3-5d1c-4903-bfe1-e79f7e2c27aa" providerId="ADAL" clId="{D3AAD440-DD06-4F1A-9CAA-1F2E7F7C93D3}" dt="2025-05-15T14:56:45.894" v="57" actId="47"/>
        <pc:sldMkLst>
          <pc:docMk/>
          <pc:sldMk cId="2183139841" sldId="2147482501"/>
        </pc:sldMkLst>
      </pc:sldChg>
      <pc:sldChg chg="add del">
        <pc:chgData name="Reshma Parmar" userId="2ed984a3-5d1c-4903-bfe1-e79f7e2c27aa" providerId="ADAL" clId="{D3AAD440-DD06-4F1A-9CAA-1F2E7F7C93D3}" dt="2025-05-15T14:56:47.360" v="58" actId="47"/>
        <pc:sldMkLst>
          <pc:docMk/>
          <pc:sldMk cId="645426085" sldId="2147482502"/>
        </pc:sldMkLst>
      </pc:sldChg>
      <pc:sldChg chg="add del">
        <pc:chgData name="Reshma Parmar" userId="2ed984a3-5d1c-4903-bfe1-e79f7e2c27aa" providerId="ADAL" clId="{D3AAD440-DD06-4F1A-9CAA-1F2E7F7C93D3}" dt="2025-05-15T14:56:47.767" v="59" actId="47"/>
        <pc:sldMkLst>
          <pc:docMk/>
          <pc:sldMk cId="3052750028" sldId="2147482503"/>
        </pc:sldMkLst>
      </pc:sldChg>
      <pc:sldChg chg="add del">
        <pc:chgData name="Reshma Parmar" userId="2ed984a3-5d1c-4903-bfe1-e79f7e2c27aa" providerId="ADAL" clId="{D3AAD440-DD06-4F1A-9CAA-1F2E7F7C93D3}" dt="2025-05-15T14:56:40.247" v="55" actId="47"/>
        <pc:sldMkLst>
          <pc:docMk/>
          <pc:sldMk cId="3568366230" sldId="2147482504"/>
        </pc:sldMkLst>
      </pc:sldChg>
      <pc:sldChg chg="add del">
        <pc:chgData name="Reshma Parmar" userId="2ed984a3-5d1c-4903-bfe1-e79f7e2c27aa" providerId="ADAL" clId="{D3AAD440-DD06-4F1A-9CAA-1F2E7F7C93D3}" dt="2025-05-15T14:56:36.848" v="54" actId="47"/>
        <pc:sldMkLst>
          <pc:docMk/>
          <pc:sldMk cId="3585873108" sldId="2147482507"/>
        </pc:sldMkLst>
      </pc:sldChg>
      <pc:sldChg chg="add del">
        <pc:chgData name="Reshma Parmar" userId="2ed984a3-5d1c-4903-bfe1-e79f7e2c27aa" providerId="ADAL" clId="{D3AAD440-DD06-4F1A-9CAA-1F2E7F7C93D3}" dt="2025-05-15T14:56:41.027" v="56" actId="47"/>
        <pc:sldMkLst>
          <pc:docMk/>
          <pc:sldMk cId="2072042881" sldId="2147482508"/>
        </pc:sldMkLst>
      </pc:sldChg>
    </pc:docChg>
  </pc:docChgLst>
  <pc:docChgLst>
    <pc:chgData name="Lisa Cave" userId="13fc95ab-bd00-44d5-b837-ad1ca269e54c" providerId="ADAL" clId="{6AAA5599-0379-476A-81C0-0795F5ACD293}"/>
    <pc:docChg chg="undo custSel modSld">
      <pc:chgData name="Lisa Cave" userId="13fc95ab-bd00-44d5-b837-ad1ca269e54c" providerId="ADAL" clId="{6AAA5599-0379-476A-81C0-0795F5ACD293}" dt="2025-05-15T09:32:42.118" v="14" actId="20577"/>
      <pc:docMkLst>
        <pc:docMk/>
      </pc:docMkLst>
      <pc:sldChg chg="modSp mod">
        <pc:chgData name="Lisa Cave" userId="13fc95ab-bd00-44d5-b837-ad1ca269e54c" providerId="ADAL" clId="{6AAA5599-0379-476A-81C0-0795F5ACD293}" dt="2025-05-15T09:32:42.118" v="14" actId="20577"/>
        <pc:sldMkLst>
          <pc:docMk/>
          <pc:sldMk cId="3677818150" sldId="2147482487"/>
        </pc:sldMkLst>
        <pc:spChg chg="mod">
          <ac:chgData name="Lisa Cave" userId="13fc95ab-bd00-44d5-b837-ad1ca269e54c" providerId="ADAL" clId="{6AAA5599-0379-476A-81C0-0795F5ACD293}" dt="2025-05-15T09:32:42.118" v="14" actId="20577"/>
          <ac:spMkLst>
            <pc:docMk/>
            <pc:sldMk cId="3677818150" sldId="2147482487"/>
            <ac:spMk id="6" creationId="{5B7FE31C-BBB3-D55B-1F73-A09866EC8525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9A76584-D3F2-B57E-BF02-D7C999AA7B0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330072"/>
          </a:xfrm>
          <a:prstGeom prst="rect">
            <a:avLst/>
          </a:prstGeom>
        </p:spPr>
        <p:txBody>
          <a:bodyPr vert="horz" lIns="72000" tIns="72000" rIns="72000" bIns="72000" rtlCol="0">
            <a:spAutoFit/>
          </a:bodyPr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2CC6F94-9BC4-3846-F58E-D1D68C191F4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330072"/>
          </a:xfrm>
          <a:prstGeom prst="rect">
            <a:avLst/>
          </a:prstGeom>
        </p:spPr>
        <p:txBody>
          <a:bodyPr vert="horz" lIns="72000" tIns="72000" rIns="72000" bIns="72000" rtlCol="0">
            <a:spAutoFit/>
          </a:bodyPr>
          <a:lstStyle>
            <a:lvl1pPr algn="r">
              <a:defRPr sz="1200"/>
            </a:lvl1pPr>
          </a:lstStyle>
          <a:p>
            <a:fld id="{CC0BB003-453D-49F4-9E2C-B0AABA0AB37D}" type="datetimeFigureOut">
              <a:rPr lang="en-US" smtClean="0"/>
              <a:t>5/15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59171E-418A-FCC6-7291-647574BEF43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13928"/>
            <a:ext cx="2971800" cy="330072"/>
          </a:xfrm>
          <a:prstGeom prst="rect">
            <a:avLst/>
          </a:prstGeom>
        </p:spPr>
        <p:txBody>
          <a:bodyPr vert="horz" lIns="72000" tIns="72000" rIns="72000" bIns="72000" rtlCol="0" anchor="b">
            <a:spAutoFit/>
          </a:bodyPr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8DF413-5A80-0E4B-FAC6-ED9C1B6AAD1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813928"/>
            <a:ext cx="2971800" cy="330072"/>
          </a:xfrm>
          <a:prstGeom prst="rect">
            <a:avLst/>
          </a:prstGeom>
        </p:spPr>
        <p:txBody>
          <a:bodyPr vert="horz" lIns="72000" tIns="72000" rIns="72000" bIns="72000" rtlCol="0" anchor="b">
            <a:spAutoFit/>
          </a:bodyPr>
          <a:lstStyle>
            <a:lvl1pPr algn="r">
              <a:defRPr sz="1200"/>
            </a:lvl1pPr>
          </a:lstStyle>
          <a:p>
            <a:fld id="{5CEEF8C8-A39C-426A-A785-874186603B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76371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330072"/>
          </a:xfrm>
          <a:prstGeom prst="rect">
            <a:avLst/>
          </a:prstGeom>
        </p:spPr>
        <p:txBody>
          <a:bodyPr vert="horz" lIns="72000" tIns="72000" rIns="72000" bIns="72000" rtlCol="0">
            <a:spAutoFit/>
          </a:bodyPr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330072"/>
          </a:xfrm>
          <a:prstGeom prst="rect">
            <a:avLst/>
          </a:prstGeom>
        </p:spPr>
        <p:txBody>
          <a:bodyPr vert="horz" lIns="72000" tIns="72000" rIns="72000" bIns="72000" rtlCol="0">
            <a:spAutoFit/>
          </a:bodyPr>
          <a:lstStyle>
            <a:lvl1pPr algn="r">
              <a:defRPr sz="1200"/>
            </a:lvl1pPr>
          </a:lstStyle>
          <a:p>
            <a:fld id="{17C9ACF2-9523-4E24-AB2A-AA40E013F93F}" type="datetimeFigureOut">
              <a:rPr lang="en-US" smtClean="0"/>
              <a:t>5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3928"/>
            <a:ext cx="2971800" cy="330072"/>
          </a:xfrm>
          <a:prstGeom prst="rect">
            <a:avLst/>
          </a:prstGeom>
        </p:spPr>
        <p:txBody>
          <a:bodyPr vert="horz" lIns="72000" tIns="72000" rIns="72000" bIns="72000" rtlCol="0" anchor="b">
            <a:spAutoFit/>
          </a:bodyPr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13928"/>
            <a:ext cx="2971800" cy="330072"/>
          </a:xfrm>
          <a:prstGeom prst="rect">
            <a:avLst/>
          </a:prstGeom>
        </p:spPr>
        <p:txBody>
          <a:bodyPr vert="horz" lIns="72000" tIns="72000" rIns="72000" bIns="72000" rtlCol="0" anchor="b">
            <a:spAutoFit/>
          </a:bodyPr>
          <a:lstStyle>
            <a:lvl1pPr algn="r">
              <a:defRPr sz="1200"/>
            </a:lvl1pPr>
          </a:lstStyle>
          <a:p>
            <a:fld id="{79F5A480-A98C-4E91-8166-A054DD06EB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5588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6F7624-BDF8-6DC7-F3C4-E8B8A88089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B8BE486-128D-B765-BB40-5495E37584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047BD3F-85D3-BE95-4B0F-45E4B083D6C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CC64F1-8D49-7A13-40EB-EB35879AAFA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0B60E5-2A5B-E349-A091-5C5E057962C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8055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4C14BC-7EB0-3433-DE28-7236ACE788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8E2B2CB-FE65-FE9D-6D6D-9CF62AA7B0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A339AC6-5825-965E-322C-9CCB656ECB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EC3DE4-9C17-208B-6319-6EA1C18CBC0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0B60E5-2A5B-E349-A091-5C5E057962C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0223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5FCE8A-9F26-902D-0AF7-BCA6469248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E11986-DF67-4EC3-A2B3-FAE80500AFB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F9E97C2-5F49-9909-0E7D-68DF120EEE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35674D-2FFE-9468-A0CA-B7F78EF8869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0B60E5-2A5B-E349-A091-5C5E057962C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1368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D0E34F-B66F-A6CD-F812-B2D8229367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4FE276E-2B11-ABE0-FEFC-3B3626F01FC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62CBB1-ADB4-9E0E-9F0C-8DF135AA767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404095-6072-E922-C1C8-E22E30A7B53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0B60E5-2A5B-E349-A091-5C5E057962C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07581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2A133E-7E44-9215-555C-70057EE575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9599FCD-5D79-8D74-772B-CF4CEB50255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083E69C-A8A0-93AB-1F30-E7B1CCCA3D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292415-4F76-5434-4E42-92A87AABF9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0B60E5-2A5B-E349-A091-5C5E057962C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8725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FCD9B4-DE04-8A6B-9FCA-AD3407FF37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47EF639-F017-A861-28CF-7C5E5D83CA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0374E05-18D0-2007-145B-E460EEEF9A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A47DFC-E5E3-89CC-622A-B15806C333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2A952F-D4D4-45C1-82C0-50EA2E6ADF1D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11051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0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0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0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0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0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0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0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0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0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2.svg"/><Relationship Id="rId11" Type="http://schemas.openxmlformats.org/officeDocument/2006/relationships/image" Target="../media/image13.png"/><Relationship Id="rId5" Type="http://schemas.openxmlformats.org/officeDocument/2006/relationships/image" Target="../media/image11.png"/><Relationship Id="rId10" Type="http://schemas.openxmlformats.org/officeDocument/2006/relationships/image" Target="../media/image9.svg"/><Relationship Id="rId4" Type="http://schemas.openxmlformats.org/officeDocument/2006/relationships/image" Target="../media/image10.emf"/><Relationship Id="rId9" Type="http://schemas.openxmlformats.org/officeDocument/2006/relationships/image" Target="../media/image8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0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0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0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12.svg"/><Relationship Id="rId11" Type="http://schemas.openxmlformats.org/officeDocument/2006/relationships/image" Target="../media/image13.png"/><Relationship Id="rId5" Type="http://schemas.openxmlformats.org/officeDocument/2006/relationships/image" Target="../media/image11.png"/><Relationship Id="rId10" Type="http://schemas.openxmlformats.org/officeDocument/2006/relationships/image" Target="../media/image9.svg"/><Relationship Id="rId4" Type="http://schemas.openxmlformats.org/officeDocument/2006/relationships/image" Target="../media/image10.emf"/><Relationship Id="rId9" Type="http://schemas.openxmlformats.org/officeDocument/2006/relationships/image" Target="../media/image8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0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0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0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0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0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0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0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0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0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0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10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0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0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10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10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0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10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10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0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0.emf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0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0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0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0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C59A3965-0FEC-C843-470B-67643DCE98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938588"/>
            <a:ext cx="12192000" cy="29265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3D6D4DC-CC68-7245-7F91-A5316BE13C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3999" y="774000"/>
            <a:ext cx="9000000" cy="1994392"/>
          </a:xfrm>
        </p:spPr>
        <p:txBody>
          <a:bodyPr vert="horz" wrap="square" anchor="t">
            <a:noAutofit/>
          </a:bodyPr>
          <a:lstStyle>
            <a:lvl1pPr algn="l"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of presentation goes here</a:t>
            </a:r>
            <a:br>
              <a:rPr lang="en-US"/>
            </a:br>
            <a:r>
              <a:rPr lang="en-US"/>
              <a:t>–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D0D1466-F44B-E480-A87B-737F00DE40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4000" y="3128392"/>
            <a:ext cx="6120000" cy="221599"/>
          </a:xfrm>
        </p:spPr>
        <p:txBody>
          <a:bodyPr>
            <a:spAutoFit/>
          </a:bodyPr>
          <a:lstStyle>
            <a:lvl1pPr marL="0" indent="0" algn="l">
              <a:buNone/>
              <a:defRPr sz="1600" b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 heading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7AC2213-3BE7-F3FE-FF09-CE1E432180C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40988" y="6022975"/>
            <a:ext cx="1371600" cy="4572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BF1CD9B6-8D2C-2001-2E09-E5A8B10D3AC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4762" y="1674912"/>
            <a:ext cx="12196762" cy="438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1282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6FA4212-80C1-3FE1-2EFD-6E3774EA44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5795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FA4212-80C1-3FE1-2EFD-6E3774EA44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F1A268-CCC7-E569-64FC-8014385BE8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8000" y="1603376"/>
            <a:ext cx="5610001" cy="4419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0FE5C3-7B86-26F4-B23D-BE1C34AF8E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002" y="1603376"/>
            <a:ext cx="5610001" cy="4419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0A7392A-1BFD-4A20-EB7C-6182DBDF1B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925EBD-E1D7-BAFA-4C89-E0E37262A8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60A7C5-91D6-CE9B-DDEB-706CB6749B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BA5ED7B-5CE6-5000-095A-688A7E0867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 – max 1 line</a:t>
            </a:r>
            <a:endParaRPr lang="da-DK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BA9F5C6-0C4E-78D9-6075-F73FF6243E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469728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3">
          <p15:clr>
            <a:srgbClr val="FBAE40"/>
          </p15:clr>
        </p15:guide>
        <p15:guide id="2" pos="390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2 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6FA4212-80C1-3FE1-2EFD-6E3774EA44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541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FA4212-80C1-3FE1-2EFD-6E3774EA44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F1A268-CCC7-E569-64FC-8014385BE8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8000" y="1603376"/>
            <a:ext cx="5610001" cy="4419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0FE5C3-7B86-26F4-B23D-BE1C34AF8E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002" y="1603376"/>
            <a:ext cx="5610001" cy="4419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0A7392A-1BFD-4A20-EB7C-6182DBDF1B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925EBD-E1D7-BAFA-4C89-E0E37262A8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60A7C5-91D6-CE9B-DDEB-706CB6749B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811A864-4EDD-ED92-B603-02A7A8FC7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6981"/>
            <a:ext cx="9748185" cy="997196"/>
          </a:xfrm>
        </p:spPr>
        <p:txBody>
          <a:bodyPr vert="horz"/>
          <a:lstStyle/>
          <a:p>
            <a:r>
              <a:rPr lang="en-US"/>
              <a:t>Click to edit Master title style </a:t>
            </a:r>
            <a:br>
              <a:rPr lang="en-US"/>
            </a:br>
            <a:r>
              <a:rPr lang="en-US"/>
              <a:t>– max 2 lines</a:t>
            </a:r>
            <a:endParaRPr lang="da-DK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FE93F37-EE49-65CB-DDCC-E81E0313B2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1309476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3">
          <p15:clr>
            <a:srgbClr val="FBAE40"/>
          </p15:clr>
        </p15:guide>
        <p15:guide id="2" pos="390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3D65A5A-0C59-A6FC-CAD9-B6A434D8D0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690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D65A5A-0C59-A6FC-CAD9-B6A434D8D0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1AB0E1-A7D5-9A1D-E12F-D7A6BC7B123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8000" y="1605591"/>
            <a:ext cx="5608139" cy="221599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180795-417C-516B-E92C-FD8EB782CF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7999" y="2017870"/>
            <a:ext cx="5608140" cy="40051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330EBF5-9EC9-949E-33F2-706D37BD2ADA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02142" y="1605591"/>
            <a:ext cx="5608140" cy="221599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01853D4-5584-F905-AAA9-9E4B306CEE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02141" y="2017869"/>
            <a:ext cx="5608140" cy="40051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FE6327-8397-B879-AFE5-DB860CCD23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3DF383D-B6F4-524C-0078-C9F12C85FF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6CAEA40-2A2A-3C6E-1604-BC9FBD750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F5248A2-9D3A-906E-C42F-2890C550AF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 – max 1 line</a:t>
            </a:r>
            <a:endParaRPr lang="da-DK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7AF7775-4AFD-6A16-399E-5A4DCFAFCCF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3473054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06">
          <p15:clr>
            <a:srgbClr val="FBAE40"/>
          </p15:clr>
        </p15:guide>
        <p15:guide id="2" pos="377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(2 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3D65A5A-0C59-A6FC-CAD9-B6A434D8D0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0775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D65A5A-0C59-A6FC-CAD9-B6A434D8D0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1AB0E1-A7D5-9A1D-E12F-D7A6BC7B123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8000" y="1603375"/>
            <a:ext cx="5608139" cy="221599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180795-417C-516B-E92C-FD8EB782CF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7999" y="2015654"/>
            <a:ext cx="5608140" cy="40073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330EBF5-9EC9-949E-33F2-706D37BD2ADA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02142" y="1603375"/>
            <a:ext cx="5608140" cy="221599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01853D4-5584-F905-AAA9-9E4B306CEE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02141" y="2015653"/>
            <a:ext cx="5608140" cy="40073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FE6327-8397-B879-AFE5-DB860CCD23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3DF383D-B6F4-524C-0078-C9F12C85FF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6CAEA40-2A2A-3C6E-1604-BC9FBD750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EA58F27-D04F-4EAE-5198-6170ABD925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6981"/>
            <a:ext cx="9748185" cy="997196"/>
          </a:xfrm>
        </p:spPr>
        <p:txBody>
          <a:bodyPr vert="horz"/>
          <a:lstStyle/>
          <a:p>
            <a:r>
              <a:rPr lang="en-US"/>
              <a:t>Click to edit Master title style </a:t>
            </a:r>
            <a:br>
              <a:rPr lang="en-US"/>
            </a:br>
            <a:r>
              <a:rPr lang="en-US"/>
              <a:t>– max 2 lines</a:t>
            </a:r>
            <a:endParaRPr lang="da-DK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04C474C-2B7E-DF50-356A-C8ACC5266C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19987886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06">
          <p15:clr>
            <a:srgbClr val="FBAE40"/>
          </p15:clr>
        </p15:guide>
        <p15:guide id="2" pos="377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3DD8046-CFDD-F96A-0F8C-01D629128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7860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DD8046-CFDD-F96A-0F8C-01D629128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B4CEF78-5484-406D-D06C-9698FC4F27C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77999" y="1604717"/>
            <a:ext cx="3668400" cy="221599"/>
          </a:xfrm>
        </p:spPr>
        <p:txBody>
          <a:bodyPr anchor="t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5172591B-5908-769B-244D-B2876DE6D6F0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77998" y="2018259"/>
            <a:ext cx="3668530" cy="40047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8C05DE2-3BD5-D4F5-982E-490BB499DB8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62528" y="1604717"/>
            <a:ext cx="3668400" cy="221599"/>
          </a:xfrm>
        </p:spPr>
        <p:txBody>
          <a:bodyPr anchor="t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BAE2078E-D57B-524E-6DCB-FB6F5A720ED5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4262529" y="2018259"/>
            <a:ext cx="3668530" cy="40047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EEB7E20-98D2-E4B2-D759-798FCBB316F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43876" y="1604717"/>
            <a:ext cx="3692526" cy="221599"/>
          </a:xfrm>
        </p:spPr>
        <p:txBody>
          <a:bodyPr anchor="t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3AB3F494-6342-ED15-BC0B-2B36C3F19648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8147058" y="2018259"/>
            <a:ext cx="3668530" cy="40047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5CDEEE4C-A77B-E721-7B64-1224D7C113DA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DBDE4289-6BCF-5929-EC85-1DF7F48014F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FD37D8C6-EB9F-1794-0CA8-C1594C9B7604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EA0E70-6A45-0A02-D479-12A22EB20A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 – max 1 line</a:t>
            </a:r>
            <a:endParaRPr lang="da-DK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103D61AC-6704-7E60-14A0-6C0DAFD3B2E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1340519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49">
          <p15:clr>
            <a:srgbClr val="FBAE40"/>
          </p15:clr>
        </p15:guide>
        <p15:guide id="2" pos="2684">
          <p15:clr>
            <a:srgbClr val="FBAE40"/>
          </p15:clr>
        </p15:guide>
        <p15:guide id="3" pos="4997">
          <p15:clr>
            <a:srgbClr val="FBAE40"/>
          </p15:clr>
        </p15:guide>
        <p15:guide id="4" pos="513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 layout (2 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3DD8046-CFDD-F96A-0F8C-01D629128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027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DD8046-CFDD-F96A-0F8C-01D629128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B4CEF78-5484-406D-D06C-9698FC4F27C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77999" y="1603375"/>
            <a:ext cx="3668400" cy="221599"/>
          </a:xfrm>
        </p:spPr>
        <p:txBody>
          <a:bodyPr anchor="t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5172591B-5908-769B-244D-B2876DE6D6F0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77998" y="2016917"/>
            <a:ext cx="3668530" cy="400605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8C05DE2-3BD5-D4F5-982E-490BB499DB8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62528" y="1603375"/>
            <a:ext cx="3668400" cy="221599"/>
          </a:xfrm>
        </p:spPr>
        <p:txBody>
          <a:bodyPr anchor="t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BAE2078E-D57B-524E-6DCB-FB6F5A720ED5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4262529" y="2016917"/>
            <a:ext cx="3668530" cy="400605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EEB7E20-98D2-E4B2-D759-798FCBB316F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43876" y="1603375"/>
            <a:ext cx="3692526" cy="221599"/>
          </a:xfrm>
        </p:spPr>
        <p:txBody>
          <a:bodyPr anchor="t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3AB3F494-6342-ED15-BC0B-2B36C3F19648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8147058" y="2016917"/>
            <a:ext cx="3668530" cy="400605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5CDEEE4C-A77B-E721-7B64-1224D7C113DA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DBDE4289-6BCF-5929-EC85-1DF7F48014F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FD37D8C6-EB9F-1794-0CA8-C1594C9B7604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4B576B2-307E-E9F9-3574-1B9D3D9D0D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6981"/>
            <a:ext cx="9748185" cy="997196"/>
          </a:xfrm>
        </p:spPr>
        <p:txBody>
          <a:bodyPr vert="horz"/>
          <a:lstStyle/>
          <a:p>
            <a:r>
              <a:rPr lang="en-US"/>
              <a:t>Click to edit Master title style </a:t>
            </a:r>
            <a:br>
              <a:rPr lang="en-US"/>
            </a:br>
            <a:r>
              <a:rPr lang="en-US"/>
              <a:t>– max 2 lines</a:t>
            </a:r>
            <a:endParaRPr lang="da-DK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366DCE1-8F9D-16DD-C877-5569A95A0D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4011460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49">
          <p15:clr>
            <a:srgbClr val="FBAE40"/>
          </p15:clr>
        </p15:guide>
        <p15:guide id="2" pos="2684">
          <p15:clr>
            <a:srgbClr val="FBAE40"/>
          </p15:clr>
        </p15:guide>
        <p15:guide id="3" pos="4997">
          <p15:clr>
            <a:srgbClr val="FBAE40"/>
          </p15:clr>
        </p15:guide>
        <p15:guide id="4" pos="513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- mørkeblå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8C6C9F6-A65D-2C59-C7E7-EC5F1B7C59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3059297"/>
            <a:ext cx="11434763" cy="498598"/>
          </a:xfrm>
        </p:spPr>
        <p:txBody>
          <a:bodyPr wrap="square" anchor="b">
            <a:spAutoFit/>
          </a:bodyPr>
          <a:lstStyle>
            <a:lvl1pPr marL="0" indent="0">
              <a:buNone/>
              <a:defRPr sz="3600">
                <a:latin typeface="+mj-lt"/>
              </a:defRPr>
            </a:lvl1pPr>
          </a:lstStyle>
          <a:p>
            <a:pPr lvl="0"/>
            <a:r>
              <a:rPr lang="en-US"/>
              <a:t>“Add quote here”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C909C99-E48F-E402-F682-A06E929512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7824" y="3863895"/>
            <a:ext cx="11434763" cy="246221"/>
          </a:xfrm>
        </p:spPr>
        <p:txBody>
          <a:bodyPr>
            <a:noAutofit/>
          </a:bodyPr>
          <a:lstStyle>
            <a:lvl1pPr marL="0" indent="0">
              <a:buNone/>
              <a:defRPr>
                <a:latin typeface="+mj-lt"/>
              </a:defRPr>
            </a:lvl1pPr>
          </a:lstStyle>
          <a:p>
            <a:pPr lvl="0"/>
            <a:r>
              <a:rPr lang="en-US"/>
              <a:t>Name Surname / Description</a:t>
            </a:r>
          </a:p>
        </p:txBody>
      </p:sp>
    </p:spTree>
    <p:extLst>
      <p:ext uri="{BB962C8B-B14F-4D97-AF65-F5344CB8AC3E}">
        <p14:creationId xmlns:p14="http://schemas.microsoft.com/office/powerpoint/2010/main" val="29306211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3774D0D-BA46-E7C2-DE2F-BF607B17B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9906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774D0D-BA46-E7C2-DE2F-BF607B17B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F06604B6-D107-1644-CF23-701ECC214419}"/>
              </a:ext>
            </a:extLst>
          </p:cNvPr>
          <p:cNvSpPr>
            <a:spLocks noGrp="1"/>
          </p:cNvSpPr>
          <p:nvPr userDrawn="1">
            <p:ph type="pic" sz="quarter" idx="16"/>
          </p:nvPr>
        </p:nvSpPr>
        <p:spPr>
          <a:xfrm>
            <a:off x="378000" y="1614682"/>
            <a:ext cx="5609294" cy="440968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A9172317-E013-8CB7-2920-514CED74B41E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03294" y="1614682"/>
            <a:ext cx="5609294" cy="221599"/>
          </a:xfrm>
        </p:spPr>
        <p:txBody>
          <a:bodyPr anchor="b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C8919B88-6CFA-2516-EAA4-BD1E85261891}"/>
              </a:ext>
            </a:extLst>
          </p:cNvPr>
          <p:cNvSpPr>
            <a:spLocks noGrp="1"/>
          </p:cNvSpPr>
          <p:nvPr>
            <p:ph sz="quarter" idx="71"/>
          </p:nvPr>
        </p:nvSpPr>
        <p:spPr>
          <a:xfrm>
            <a:off x="6203293" y="2026956"/>
            <a:ext cx="5609294" cy="39974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4DB6E08-4E97-FC93-FB22-B7AFC50B7622}"/>
              </a:ext>
            </a:extLst>
          </p:cNvPr>
          <p:cNvSpPr>
            <a:spLocks noGrp="1"/>
          </p:cNvSpPr>
          <p:nvPr>
            <p:ph type="dt" sz="half" idx="7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E7DD8D5-5732-1105-63C7-C26DB483E855}"/>
              </a:ext>
            </a:extLst>
          </p:cNvPr>
          <p:cNvSpPr>
            <a:spLocks noGrp="1"/>
          </p:cNvSpPr>
          <p:nvPr>
            <p:ph type="ftr" sz="quarter" idx="73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E8EB675-C54E-08D4-33B0-D3B46F43AF68}"/>
              </a:ext>
            </a:extLst>
          </p:cNvPr>
          <p:cNvSpPr>
            <a:spLocks noGrp="1"/>
          </p:cNvSpPr>
          <p:nvPr>
            <p:ph type="sldNum" sz="quarter" idx="74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0836FB6-1E6A-6711-D93D-EA061E5C9A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 – max 1 line</a:t>
            </a:r>
            <a:endParaRPr lang="da-DK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9D053DC7-B71C-B209-D633-5FFFC0FC030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1534668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1">
          <p15:clr>
            <a:srgbClr val="FBAE40"/>
          </p15:clr>
        </p15:guide>
        <p15:guide id="2" pos="390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(2 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3774D0D-BA46-E7C2-DE2F-BF607B17B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3911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774D0D-BA46-E7C2-DE2F-BF607B17B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F06604B6-D107-1644-CF23-701ECC214419}"/>
              </a:ext>
            </a:extLst>
          </p:cNvPr>
          <p:cNvSpPr>
            <a:spLocks noGrp="1"/>
          </p:cNvSpPr>
          <p:nvPr userDrawn="1">
            <p:ph type="pic" sz="quarter" idx="16"/>
          </p:nvPr>
        </p:nvSpPr>
        <p:spPr>
          <a:xfrm>
            <a:off x="378000" y="1603375"/>
            <a:ext cx="5609294" cy="442098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A9172317-E013-8CB7-2920-514CED74B41E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03294" y="1612706"/>
            <a:ext cx="5609294" cy="221599"/>
          </a:xfrm>
        </p:spPr>
        <p:txBody>
          <a:bodyPr anchor="b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C8919B88-6CFA-2516-EAA4-BD1E85261891}"/>
              </a:ext>
            </a:extLst>
          </p:cNvPr>
          <p:cNvSpPr>
            <a:spLocks noGrp="1"/>
          </p:cNvSpPr>
          <p:nvPr>
            <p:ph sz="quarter" idx="71"/>
          </p:nvPr>
        </p:nvSpPr>
        <p:spPr>
          <a:xfrm>
            <a:off x="6203293" y="2024981"/>
            <a:ext cx="5609294" cy="39993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4DB6E08-4E97-FC93-FB22-B7AFC50B7622}"/>
              </a:ext>
            </a:extLst>
          </p:cNvPr>
          <p:cNvSpPr>
            <a:spLocks noGrp="1"/>
          </p:cNvSpPr>
          <p:nvPr>
            <p:ph type="dt" sz="half" idx="7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E7DD8D5-5732-1105-63C7-C26DB483E855}"/>
              </a:ext>
            </a:extLst>
          </p:cNvPr>
          <p:cNvSpPr>
            <a:spLocks noGrp="1"/>
          </p:cNvSpPr>
          <p:nvPr>
            <p:ph type="ftr" sz="quarter" idx="73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E8EB675-C54E-08D4-33B0-D3B46F43AF68}"/>
              </a:ext>
            </a:extLst>
          </p:cNvPr>
          <p:cNvSpPr>
            <a:spLocks noGrp="1"/>
          </p:cNvSpPr>
          <p:nvPr>
            <p:ph type="sldNum" sz="quarter" idx="74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704D95-337B-31E1-FC7F-FEAF33CF7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6981"/>
            <a:ext cx="9748185" cy="997196"/>
          </a:xfrm>
        </p:spPr>
        <p:txBody>
          <a:bodyPr vert="horz"/>
          <a:lstStyle/>
          <a:p>
            <a:r>
              <a:rPr lang="en-US"/>
              <a:t>Click to edit Master title style </a:t>
            </a:r>
            <a:br>
              <a:rPr lang="en-US"/>
            </a:br>
            <a:r>
              <a:rPr lang="en-US"/>
              <a:t>– max 2 lines</a:t>
            </a:r>
            <a:endParaRPr lang="da-DK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64B6B75E-9980-5C46-FA0E-76B533562E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2505153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1">
          <p15:clr>
            <a:srgbClr val="FBAE40"/>
          </p15:clr>
        </p15:guide>
        <p15:guide id="2" pos="390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6C9066A-07C2-91C6-23C9-D154E33030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7125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C9066A-07C2-91C6-23C9-D154E3303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F06604B6-D107-1644-CF23-701ECC214419}"/>
              </a:ext>
            </a:extLst>
          </p:cNvPr>
          <p:cNvSpPr>
            <a:spLocks noGrp="1"/>
          </p:cNvSpPr>
          <p:nvPr userDrawn="1">
            <p:ph type="pic" sz="quarter" idx="16"/>
          </p:nvPr>
        </p:nvSpPr>
        <p:spPr>
          <a:xfrm>
            <a:off x="6203293" y="1607201"/>
            <a:ext cx="5609294" cy="4415774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F43E8AB-48A5-8C94-C561-635C7187EB2C}"/>
              </a:ext>
            </a:extLst>
          </p:cNvPr>
          <p:cNvSpPr>
            <a:spLocks noGrp="1"/>
          </p:cNvSpPr>
          <p:nvPr>
            <p:ph sz="quarter" idx="76"/>
          </p:nvPr>
        </p:nvSpPr>
        <p:spPr>
          <a:xfrm>
            <a:off x="378000" y="2019475"/>
            <a:ext cx="5609294" cy="4003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F76134A-8249-4E3A-4A27-AE44663970A5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78001" y="1607200"/>
            <a:ext cx="5609294" cy="221599"/>
          </a:xfrm>
        </p:spPr>
        <p:txBody>
          <a:bodyPr anchor="b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7281E7F-6527-1B51-C368-CD6C83E8F98E}"/>
              </a:ext>
            </a:extLst>
          </p:cNvPr>
          <p:cNvSpPr>
            <a:spLocks noGrp="1"/>
          </p:cNvSpPr>
          <p:nvPr>
            <p:ph type="dt" sz="half" idx="7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9574714-2973-7C19-7E14-539D054DE7AF}"/>
              </a:ext>
            </a:extLst>
          </p:cNvPr>
          <p:cNvSpPr>
            <a:spLocks noGrp="1"/>
          </p:cNvSpPr>
          <p:nvPr>
            <p:ph type="ftr" sz="quarter" idx="78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7F938A7-D8F9-B58E-7D9A-A9871613C7C8}"/>
              </a:ext>
            </a:extLst>
          </p:cNvPr>
          <p:cNvSpPr>
            <a:spLocks noGrp="1"/>
          </p:cNvSpPr>
          <p:nvPr>
            <p:ph type="sldNum" sz="quarter" idx="79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56F25F0-A934-1110-77C2-A75753C6D1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 – max 1 line</a:t>
            </a:r>
            <a:endParaRPr lang="da-DK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64D0D940-F588-0AC4-01F2-FA5A43E3FDC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11469267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1">
          <p15:clr>
            <a:srgbClr val="FBAE40"/>
          </p15:clr>
        </p15:guide>
        <p15:guide id="2" pos="390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622D5C-CFC7-38C4-0C35-68A4CC4422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4960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622D5C-CFC7-38C4-0C35-68A4CC4422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4ECEF22A-F074-12E6-1920-C9CD01CFEF8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"/>
            <a:ext cx="12192000" cy="6047232"/>
          </a:xfrm>
          <a:custGeom>
            <a:avLst/>
            <a:gdLst>
              <a:gd name="connsiteX0" fmla="*/ 0 w 12192000"/>
              <a:gd name="connsiteY0" fmla="*/ 0 h 6047232"/>
              <a:gd name="connsiteX1" fmla="*/ 12192000 w 12192000"/>
              <a:gd name="connsiteY1" fmla="*/ 0 h 6047232"/>
              <a:gd name="connsiteX2" fmla="*/ 12192000 w 12192000"/>
              <a:gd name="connsiteY2" fmla="*/ 3939137 h 6047232"/>
              <a:gd name="connsiteX3" fmla="*/ 12028125 w 12192000"/>
              <a:gd name="connsiteY3" fmla="*/ 4017742 h 6047232"/>
              <a:gd name="connsiteX4" fmla="*/ 0 w 12192000"/>
              <a:gd name="connsiteY4" fmla="*/ 6029815 h 6047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047232">
                <a:moveTo>
                  <a:pt x="0" y="0"/>
                </a:moveTo>
                <a:lnTo>
                  <a:pt x="12192000" y="0"/>
                </a:lnTo>
                <a:lnTo>
                  <a:pt x="12192000" y="3939137"/>
                </a:lnTo>
                <a:lnTo>
                  <a:pt x="12028125" y="4017742"/>
                </a:lnTo>
                <a:cubicBezTo>
                  <a:pt x="10254086" y="4853409"/>
                  <a:pt x="6342507" y="6216908"/>
                  <a:pt x="0" y="6029815"/>
                </a:cubicBezTo>
                <a:close/>
              </a:path>
            </a:pathLst>
          </a:custGeom>
          <a:solidFill>
            <a:schemeClr val="bg1">
              <a:lumMod val="40000"/>
              <a:lumOff val="60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a-DK" err="1"/>
              <a:t>Follow</a:t>
            </a:r>
            <a:r>
              <a:rPr lang="da-DK"/>
              <a:t> </a:t>
            </a:r>
            <a:r>
              <a:rPr lang="da-DK" err="1"/>
              <a:t>off</a:t>
            </a:r>
            <a:r>
              <a:rPr lang="da-DK"/>
              <a:t> slide guidelines to </a:t>
            </a:r>
            <a:r>
              <a:rPr lang="da-DK" err="1"/>
              <a:t>add</a:t>
            </a:r>
            <a:r>
              <a:rPr lang="da-DK"/>
              <a:t> an imag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11B7409-CD33-9609-E512-FD4382DB15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1" y="-2"/>
            <a:ext cx="9964685" cy="5405440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  <a:lvl2pPr marL="177800" indent="0">
              <a:buNone/>
              <a:defRPr sz="100"/>
            </a:lvl2pPr>
            <a:lvl3pPr marL="354013" indent="0">
              <a:buNone/>
              <a:defRPr sz="100"/>
            </a:lvl3pPr>
            <a:lvl4pPr marL="541338" indent="0">
              <a:buNone/>
              <a:defRPr sz="100"/>
            </a:lvl4pPr>
            <a:lvl5pPr marL="719137" indent="0">
              <a:buNone/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7AC2213-3BE7-F3FE-FF09-CE1E432180C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40988" y="6022975"/>
            <a:ext cx="1371600" cy="457200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A93E078C-B73B-5784-2D02-554E219240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-4762" y="1674912"/>
            <a:ext cx="12196762" cy="4381500"/>
          </a:xfrm>
          <a:blipFill dpi="0"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  <a:lvl2pPr marL="177800" indent="0">
              <a:buNone/>
              <a:defRPr/>
            </a:lvl2pPr>
            <a:lvl3pPr marL="354013" indent="0">
              <a:buNone/>
              <a:defRPr/>
            </a:lvl3pPr>
            <a:lvl4pPr marL="541338" indent="0">
              <a:buNone/>
              <a:defRPr/>
            </a:lvl4pPr>
            <a:lvl5pPr marL="71913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912619E-F3FF-9F6F-D89C-E86C27F66CA7}"/>
              </a:ext>
            </a:extLst>
          </p:cNvPr>
          <p:cNvSpPr txBox="1">
            <a:spLocks/>
          </p:cNvSpPr>
          <p:nvPr userDrawn="1"/>
        </p:nvSpPr>
        <p:spPr>
          <a:xfrm>
            <a:off x="0" y="-278763"/>
            <a:ext cx="12192000" cy="22159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D9481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 insert a new picture or replace an existing: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D9481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D9481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. Select and delete the overlay | 2. Select and delete the existing picture (if any) | 3. Click the picture icon to insert a picture | 4. Go to the Home tab in the Ribbon, and use the                 command to reapply the overlay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C0B0A9CF-13BC-D18C-AE6E-40D9E4D4E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l="5911" t="16117" r="6404" b="15990"/>
          <a:stretch/>
        </p:blipFill>
        <p:spPr>
          <a:xfrm>
            <a:off x="8431850" y="-162532"/>
            <a:ext cx="349724" cy="110147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9D0D1466-F44B-E480-A87B-737F00DE40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4000" y="3837788"/>
            <a:ext cx="5322000" cy="221599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 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D6D4DC-CC68-7245-7F91-A5316BE13C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3999" y="774000"/>
            <a:ext cx="5322001" cy="2659190"/>
          </a:xfrm>
        </p:spPr>
        <p:txBody>
          <a:bodyPr vert="horz" wrap="square" anchor="t">
            <a:spAutoFit/>
          </a:bodyPr>
          <a:lstStyle>
            <a:lvl1pPr algn="l"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of presentation goes here</a:t>
            </a:r>
            <a:br>
              <a:rPr lang="en-US"/>
            </a:br>
            <a:r>
              <a:rPr lang="en-US"/>
              <a:t>– max 4 lines</a:t>
            </a:r>
          </a:p>
        </p:txBody>
      </p:sp>
    </p:spTree>
    <p:extLst>
      <p:ext uri="{BB962C8B-B14F-4D97-AF65-F5344CB8AC3E}">
        <p14:creationId xmlns:p14="http://schemas.microsoft.com/office/powerpoint/2010/main" val="31777199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 (2 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6C9066A-07C2-91C6-23C9-D154E33030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5272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C9066A-07C2-91C6-23C9-D154E3303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F06604B6-D107-1644-CF23-701ECC214419}"/>
              </a:ext>
            </a:extLst>
          </p:cNvPr>
          <p:cNvSpPr>
            <a:spLocks noGrp="1"/>
          </p:cNvSpPr>
          <p:nvPr userDrawn="1">
            <p:ph type="pic" sz="quarter" idx="16"/>
          </p:nvPr>
        </p:nvSpPr>
        <p:spPr>
          <a:xfrm>
            <a:off x="6203293" y="1605027"/>
            <a:ext cx="5609294" cy="4417947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F43E8AB-48A5-8C94-C561-635C7187EB2C}"/>
              </a:ext>
            </a:extLst>
          </p:cNvPr>
          <p:cNvSpPr>
            <a:spLocks noGrp="1"/>
          </p:cNvSpPr>
          <p:nvPr>
            <p:ph sz="quarter" idx="76"/>
          </p:nvPr>
        </p:nvSpPr>
        <p:spPr>
          <a:xfrm>
            <a:off x="378000" y="2017302"/>
            <a:ext cx="5609294" cy="40056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F76134A-8249-4E3A-4A27-AE44663970A5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78001" y="1605027"/>
            <a:ext cx="5609294" cy="221599"/>
          </a:xfrm>
        </p:spPr>
        <p:txBody>
          <a:bodyPr anchor="b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7281E7F-6527-1B51-C368-CD6C83E8F98E}"/>
              </a:ext>
            </a:extLst>
          </p:cNvPr>
          <p:cNvSpPr>
            <a:spLocks noGrp="1"/>
          </p:cNvSpPr>
          <p:nvPr>
            <p:ph type="dt" sz="half" idx="7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9574714-2973-7C19-7E14-539D054DE7AF}"/>
              </a:ext>
            </a:extLst>
          </p:cNvPr>
          <p:cNvSpPr>
            <a:spLocks noGrp="1"/>
          </p:cNvSpPr>
          <p:nvPr>
            <p:ph type="ftr" sz="quarter" idx="78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7F938A7-D8F9-B58E-7D9A-A9871613C7C8}"/>
              </a:ext>
            </a:extLst>
          </p:cNvPr>
          <p:cNvSpPr>
            <a:spLocks noGrp="1"/>
          </p:cNvSpPr>
          <p:nvPr>
            <p:ph type="sldNum" sz="quarter" idx="79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7657BFBF-39BD-A052-C89C-AE095C4569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6981"/>
            <a:ext cx="9748185" cy="997196"/>
          </a:xfrm>
        </p:spPr>
        <p:txBody>
          <a:bodyPr vert="horz"/>
          <a:lstStyle/>
          <a:p>
            <a:r>
              <a:rPr lang="en-US"/>
              <a:t>Click to edit Master title style </a:t>
            </a:r>
            <a:br>
              <a:rPr lang="en-US"/>
            </a:br>
            <a:r>
              <a:rPr lang="en-US"/>
              <a:t>– max 2 lines</a:t>
            </a:r>
            <a:endParaRPr lang="da-DK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6B8266EA-6831-8DD8-1161-25ACA5659BF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3496841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1">
          <p15:clr>
            <a:srgbClr val="FBAE40"/>
          </p15:clr>
        </p15:guide>
        <p15:guide id="2" pos="390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F64A07B-B98F-F2E7-FF9B-98C8D9DBD5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3763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64A07B-B98F-F2E7-FF9B-98C8D9DBD5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F06604B6-D107-1644-CF23-701ECC214419}"/>
              </a:ext>
            </a:extLst>
          </p:cNvPr>
          <p:cNvSpPr>
            <a:spLocks noGrp="1"/>
          </p:cNvSpPr>
          <p:nvPr userDrawn="1">
            <p:ph type="pic" sz="quarter" idx="16"/>
          </p:nvPr>
        </p:nvSpPr>
        <p:spPr>
          <a:xfrm>
            <a:off x="6203292" y="0"/>
            <a:ext cx="5988707" cy="685799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F43E8AB-48A5-8C94-C561-635C7187EB2C}"/>
              </a:ext>
            </a:extLst>
          </p:cNvPr>
          <p:cNvSpPr>
            <a:spLocks noGrp="1"/>
          </p:cNvSpPr>
          <p:nvPr>
            <p:ph sz="quarter" idx="76"/>
          </p:nvPr>
        </p:nvSpPr>
        <p:spPr>
          <a:xfrm>
            <a:off x="378000" y="2016435"/>
            <a:ext cx="5609294" cy="40065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83A956A-4618-34DD-1342-6AB706DB2F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6981"/>
            <a:ext cx="5609294" cy="4985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title–max 1 lin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F76134A-8249-4E3A-4A27-AE44663970A5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78001" y="1606541"/>
            <a:ext cx="5609294" cy="221599"/>
          </a:xfrm>
        </p:spPr>
        <p:txBody>
          <a:bodyPr anchor="b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7281E7F-6527-1B51-C368-CD6C83E8F98E}"/>
              </a:ext>
            </a:extLst>
          </p:cNvPr>
          <p:cNvSpPr>
            <a:spLocks noGrp="1"/>
          </p:cNvSpPr>
          <p:nvPr>
            <p:ph type="dt" sz="half" idx="7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9574714-2973-7C19-7E14-539D054DE7AF}"/>
              </a:ext>
            </a:extLst>
          </p:cNvPr>
          <p:cNvSpPr>
            <a:spLocks noGrp="1"/>
          </p:cNvSpPr>
          <p:nvPr>
            <p:ph type="ftr" sz="quarter" idx="78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7F938A7-D8F9-B58E-7D9A-A9871613C7C8}"/>
              </a:ext>
            </a:extLst>
          </p:cNvPr>
          <p:cNvSpPr>
            <a:spLocks noGrp="1"/>
          </p:cNvSpPr>
          <p:nvPr>
            <p:ph type="sldNum" sz="quarter" idx="79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AAC3C307-082C-BADA-C54E-A2668E0C08C2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10349143" y="-165409"/>
            <a:ext cx="1647854" cy="107694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F1AB1B9F-BA64-58A8-6F3D-53BEB98108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5609293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2273691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1">
          <p15:clr>
            <a:srgbClr val="FBAE40"/>
          </p15:clr>
        </p15:guide>
        <p15:guide id="2" pos="390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half (2 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F64A07B-B98F-F2E7-FF9B-98C8D9DBD5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5513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64A07B-B98F-F2E7-FF9B-98C8D9DBD5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F06604B6-D107-1644-CF23-701ECC214419}"/>
              </a:ext>
            </a:extLst>
          </p:cNvPr>
          <p:cNvSpPr>
            <a:spLocks noGrp="1"/>
          </p:cNvSpPr>
          <p:nvPr userDrawn="1">
            <p:ph type="pic" sz="quarter" idx="16"/>
          </p:nvPr>
        </p:nvSpPr>
        <p:spPr>
          <a:xfrm>
            <a:off x="6203292" y="0"/>
            <a:ext cx="5988707" cy="685799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F43E8AB-48A5-8C94-C561-635C7187EB2C}"/>
              </a:ext>
            </a:extLst>
          </p:cNvPr>
          <p:cNvSpPr>
            <a:spLocks noGrp="1"/>
          </p:cNvSpPr>
          <p:nvPr>
            <p:ph sz="quarter" idx="76"/>
          </p:nvPr>
        </p:nvSpPr>
        <p:spPr>
          <a:xfrm>
            <a:off x="378000" y="2022599"/>
            <a:ext cx="5609294" cy="40003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83A956A-4618-34DD-1342-6AB706DB2F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6981"/>
            <a:ext cx="5609294" cy="997196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title</a:t>
            </a:r>
            <a:br>
              <a:rPr lang="en-US"/>
            </a:br>
            <a:r>
              <a:rPr lang="en-US"/>
              <a:t>– max 2 lin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F76134A-8249-4E3A-4A27-AE44663970A5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78001" y="1612706"/>
            <a:ext cx="5609294" cy="221599"/>
          </a:xfrm>
        </p:spPr>
        <p:txBody>
          <a:bodyPr anchor="b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7281E7F-6527-1B51-C368-CD6C83E8F98E}"/>
              </a:ext>
            </a:extLst>
          </p:cNvPr>
          <p:cNvSpPr>
            <a:spLocks noGrp="1"/>
          </p:cNvSpPr>
          <p:nvPr>
            <p:ph type="dt" sz="half" idx="7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9574714-2973-7C19-7E14-539D054DE7AF}"/>
              </a:ext>
            </a:extLst>
          </p:cNvPr>
          <p:cNvSpPr>
            <a:spLocks noGrp="1"/>
          </p:cNvSpPr>
          <p:nvPr>
            <p:ph type="ftr" sz="quarter" idx="78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7F938A7-D8F9-B58E-7D9A-A9871613C7C8}"/>
              </a:ext>
            </a:extLst>
          </p:cNvPr>
          <p:cNvSpPr>
            <a:spLocks noGrp="1"/>
          </p:cNvSpPr>
          <p:nvPr>
            <p:ph type="sldNum" sz="quarter" idx="79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1F6E67BB-4628-33B7-6F09-0DEE9F349372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10349143" y="-165409"/>
            <a:ext cx="1647854" cy="107694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6FE3F5B-A139-B503-7ACD-672D3917129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5609293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1586546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1">
          <p15:clr>
            <a:srgbClr val="FBAE40"/>
          </p15:clr>
        </p15:guide>
        <p15:guide id="2" pos="390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">
            <a:extLst>
              <a:ext uri="{FF2B5EF4-FFF2-40B4-BE49-F238E27FC236}">
                <a16:creationId xmlns:a16="http://schemas.microsoft.com/office/drawing/2014/main" id="{AF251672-BBF7-200D-2BCF-6EF86B632D5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766244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663B5DC-27A3-8069-0504-95075B68F41D}"/>
              </a:ext>
            </a:extLst>
          </p:cNvPr>
          <p:cNvSpPr/>
          <p:nvPr userDrawn="1"/>
        </p:nvSpPr>
        <p:spPr>
          <a:xfrm>
            <a:off x="378000" y="377825"/>
            <a:ext cx="11434588" cy="5214453"/>
          </a:xfrm>
          <a:prstGeom prst="roundRect">
            <a:avLst>
              <a:gd name="adj" fmla="val 1674"/>
            </a:avLst>
          </a:prstGeom>
          <a:solidFill>
            <a:schemeClr val="accent1"/>
          </a:solidFill>
          <a:ln>
            <a:noFill/>
          </a:ln>
        </p:spPr>
        <p:txBody>
          <a:bodyPr vert="horz" lIns="72000" tIns="72000" rIns="72000" bIns="72000" rtlCol="0" anchor="t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6DA447A-1F2C-CC34-525B-F0495A54F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6000" y="2680352"/>
            <a:ext cx="4064000" cy="609398"/>
          </a:xfr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177800" indent="0">
              <a:buNone/>
              <a:defRPr>
                <a:solidFill>
                  <a:schemeClr val="bg1"/>
                </a:solidFill>
              </a:defRPr>
            </a:lvl2pPr>
            <a:lvl3pPr marL="354013" indent="0">
              <a:buNone/>
              <a:defRPr>
                <a:solidFill>
                  <a:schemeClr val="bg1"/>
                </a:solidFill>
              </a:defRPr>
            </a:lvl3pPr>
            <a:lvl4pPr marL="541338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ank you.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FD8489F-3F1E-D40E-FF92-833D6F5328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40988" y="6022975"/>
            <a:ext cx="1371600" cy="457200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1541AB8-50A1-E991-BAB0-C2717AE035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6000" y="3502631"/>
            <a:ext cx="4064000" cy="193899"/>
          </a:xfr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0" i="0" u="none" strike="noStrike" baseline="0">
                <a:solidFill>
                  <a:schemeClr val="bg1">
                    <a:lumMod val="100000"/>
                  </a:schemeClr>
                </a:solidFill>
                <a:latin typeface="+mn-lt"/>
              </a:defRPr>
            </a:lvl1pPr>
            <a:lvl2pPr marL="177800" indent="0">
              <a:buNone/>
              <a:defRPr>
                <a:solidFill>
                  <a:schemeClr val="bg1"/>
                </a:solidFill>
              </a:defRPr>
            </a:lvl2pPr>
            <a:lvl3pPr marL="354013" indent="0">
              <a:buNone/>
              <a:defRPr>
                <a:solidFill>
                  <a:schemeClr val="bg1"/>
                </a:solidFill>
              </a:defRPr>
            </a:lvl3pPr>
            <a:lvl4pPr marL="541338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7835234-165D-13FB-F897-D6DED4648F0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6000" y="3800430"/>
            <a:ext cx="4064000" cy="193899"/>
          </a:xfr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0" i="0" u="none" strike="noStrike" baseline="0">
                <a:solidFill>
                  <a:schemeClr val="bg1">
                    <a:lumMod val="100000"/>
                  </a:schemeClr>
                </a:solidFill>
                <a:latin typeface="+mn-lt"/>
              </a:defRPr>
            </a:lvl1pPr>
            <a:lvl2pPr marL="177800" indent="0">
              <a:buNone/>
              <a:defRPr>
                <a:solidFill>
                  <a:schemeClr val="bg1"/>
                </a:solidFill>
              </a:defRPr>
            </a:lvl2pPr>
            <a:lvl3pPr marL="354013" indent="0">
              <a:buNone/>
              <a:defRPr>
                <a:solidFill>
                  <a:schemeClr val="bg1"/>
                </a:solidFill>
              </a:defRPr>
            </a:lvl3pPr>
            <a:lvl4pPr marL="541338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B6E3C50-D186-6B30-08C4-C9A73EA319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6000" y="4098229"/>
            <a:ext cx="4064000" cy="193899"/>
          </a:xfr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0" i="0" u="none" strike="noStrike" baseline="0">
                <a:solidFill>
                  <a:schemeClr val="bg1">
                    <a:lumMod val="100000"/>
                  </a:schemeClr>
                </a:solidFill>
                <a:latin typeface="+mn-lt"/>
              </a:defRPr>
            </a:lvl1pPr>
            <a:lvl2pPr marL="177800" indent="0">
              <a:buNone/>
              <a:defRPr>
                <a:solidFill>
                  <a:schemeClr val="bg1"/>
                </a:solidFill>
              </a:defRPr>
            </a:lvl2pPr>
            <a:lvl3pPr marL="354013" indent="0">
              <a:buNone/>
              <a:defRPr>
                <a:solidFill>
                  <a:schemeClr val="bg1"/>
                </a:solidFill>
              </a:defRPr>
            </a:lvl3pPr>
            <a:lvl4pPr marL="541338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82A8823E-1E29-F3CE-7057-950A905B47A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6000" y="4396028"/>
            <a:ext cx="4064000" cy="193899"/>
          </a:xfr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0" i="0" u="none" strike="noStrike" baseline="0">
                <a:solidFill>
                  <a:schemeClr val="bg1">
                    <a:lumMod val="100000"/>
                  </a:schemeClr>
                </a:solidFill>
                <a:latin typeface="+mn-lt"/>
              </a:defRPr>
            </a:lvl1pPr>
            <a:lvl2pPr marL="177800" indent="0">
              <a:buNone/>
              <a:defRPr>
                <a:solidFill>
                  <a:schemeClr val="bg1"/>
                </a:solidFill>
              </a:defRPr>
            </a:lvl2pPr>
            <a:lvl3pPr marL="354013" indent="0">
              <a:buNone/>
              <a:defRPr>
                <a:solidFill>
                  <a:schemeClr val="bg1"/>
                </a:solidFill>
              </a:defRPr>
            </a:lvl3pPr>
            <a:lvl4pPr marL="541338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hone</a:t>
            </a:r>
          </a:p>
        </p:txBody>
      </p:sp>
      <p:sp>
        <p:nvSpPr>
          <p:cNvPr id="21" name="[T2O] Placeholder converted by Text to Outline">
            <a:extLst>
              <a:ext uri="{FF2B5EF4-FFF2-40B4-BE49-F238E27FC236}">
                <a16:creationId xmlns:a16="http://schemas.microsoft.com/office/drawing/2014/main" id="{3A5AE940-1ECB-CC56-2A9B-2AE1F67C80FB}"/>
              </a:ext>
            </a:extLst>
          </p:cNvPr>
          <p:cNvSpPr/>
          <p:nvPr userDrawn="1"/>
        </p:nvSpPr>
        <p:spPr>
          <a:xfrm>
            <a:off x="764986" y="5013525"/>
            <a:ext cx="1688920" cy="171604"/>
          </a:xfrm>
          <a:custGeom>
            <a:avLst/>
            <a:gdLst/>
            <a:ahLst/>
            <a:cxnLst/>
            <a:rect l="l" t="t" r="r" b="b"/>
            <a:pathLst>
              <a:path w="1688920" h="171604">
                <a:moveTo>
                  <a:pt x="1330858" y="114175"/>
                </a:moveTo>
                <a:cubicBezTo>
                  <a:pt x="1334765" y="114175"/>
                  <a:pt x="1337467" y="114923"/>
                  <a:pt x="1338964" y="116421"/>
                </a:cubicBezTo>
                <a:cubicBezTo>
                  <a:pt x="1340462" y="117918"/>
                  <a:pt x="1341211" y="120914"/>
                  <a:pt x="1341211" y="125406"/>
                </a:cubicBezTo>
                <a:cubicBezTo>
                  <a:pt x="1341211" y="130029"/>
                  <a:pt x="1340446" y="133106"/>
                  <a:pt x="1338916" y="134636"/>
                </a:cubicBezTo>
                <a:cubicBezTo>
                  <a:pt x="1337385" y="136166"/>
                  <a:pt x="1334602" y="136931"/>
                  <a:pt x="1330565" y="136931"/>
                </a:cubicBezTo>
                <a:cubicBezTo>
                  <a:pt x="1326658" y="136931"/>
                  <a:pt x="1323956" y="136182"/>
                  <a:pt x="1322458" y="134685"/>
                </a:cubicBezTo>
                <a:cubicBezTo>
                  <a:pt x="1320961" y="133187"/>
                  <a:pt x="1320212" y="130192"/>
                  <a:pt x="1320212" y="125699"/>
                </a:cubicBezTo>
                <a:cubicBezTo>
                  <a:pt x="1320212" y="121076"/>
                  <a:pt x="1320977" y="118000"/>
                  <a:pt x="1322507" y="116470"/>
                </a:cubicBezTo>
                <a:cubicBezTo>
                  <a:pt x="1324037" y="114940"/>
                  <a:pt x="1326821" y="114175"/>
                  <a:pt x="1330858" y="114175"/>
                </a:cubicBezTo>
                <a:close/>
                <a:moveTo>
                  <a:pt x="1261588" y="93566"/>
                </a:moveTo>
                <a:cubicBezTo>
                  <a:pt x="1257160" y="93566"/>
                  <a:pt x="1253318" y="93941"/>
                  <a:pt x="1250063" y="94690"/>
                </a:cubicBezTo>
                <a:cubicBezTo>
                  <a:pt x="1246807" y="95438"/>
                  <a:pt x="1244105" y="96545"/>
                  <a:pt x="1241956" y="98010"/>
                </a:cubicBezTo>
                <a:cubicBezTo>
                  <a:pt x="1239808" y="99475"/>
                  <a:pt x="1238229" y="101233"/>
                  <a:pt x="1237219" y="103284"/>
                </a:cubicBezTo>
                <a:cubicBezTo>
                  <a:pt x="1236210" y="105336"/>
                  <a:pt x="1235706" y="107696"/>
                  <a:pt x="1235706" y="110365"/>
                </a:cubicBezTo>
                <a:cubicBezTo>
                  <a:pt x="1235706" y="114923"/>
                  <a:pt x="1237154" y="118553"/>
                  <a:pt x="1240052" y="121255"/>
                </a:cubicBezTo>
                <a:cubicBezTo>
                  <a:pt x="1242949" y="123958"/>
                  <a:pt x="1247003" y="125309"/>
                  <a:pt x="1252211" y="125309"/>
                </a:cubicBezTo>
                <a:cubicBezTo>
                  <a:pt x="1256444" y="125309"/>
                  <a:pt x="1260367" y="124234"/>
                  <a:pt x="1263981" y="122086"/>
                </a:cubicBezTo>
                <a:cubicBezTo>
                  <a:pt x="1267594" y="119937"/>
                  <a:pt x="1271387" y="116649"/>
                  <a:pt x="1275359" y="112221"/>
                </a:cubicBezTo>
                <a:lnTo>
                  <a:pt x="1275359" y="93566"/>
                </a:lnTo>
                <a:close/>
                <a:moveTo>
                  <a:pt x="937738" y="93566"/>
                </a:moveTo>
                <a:cubicBezTo>
                  <a:pt x="933310" y="93566"/>
                  <a:pt x="929468" y="93941"/>
                  <a:pt x="926213" y="94690"/>
                </a:cubicBezTo>
                <a:cubicBezTo>
                  <a:pt x="922957" y="95438"/>
                  <a:pt x="920255" y="96545"/>
                  <a:pt x="918106" y="98010"/>
                </a:cubicBezTo>
                <a:cubicBezTo>
                  <a:pt x="915958" y="99475"/>
                  <a:pt x="914379" y="101233"/>
                  <a:pt x="913369" y="103284"/>
                </a:cubicBezTo>
                <a:cubicBezTo>
                  <a:pt x="912360" y="105336"/>
                  <a:pt x="911856" y="107696"/>
                  <a:pt x="911856" y="110365"/>
                </a:cubicBezTo>
                <a:cubicBezTo>
                  <a:pt x="911856" y="114923"/>
                  <a:pt x="913304" y="118553"/>
                  <a:pt x="916202" y="121255"/>
                </a:cubicBezTo>
                <a:cubicBezTo>
                  <a:pt x="919099" y="123958"/>
                  <a:pt x="923152" y="125309"/>
                  <a:pt x="928362" y="125309"/>
                </a:cubicBezTo>
                <a:cubicBezTo>
                  <a:pt x="932594" y="125309"/>
                  <a:pt x="936517" y="124234"/>
                  <a:pt x="940131" y="122086"/>
                </a:cubicBezTo>
                <a:cubicBezTo>
                  <a:pt x="943744" y="119937"/>
                  <a:pt x="947537" y="116649"/>
                  <a:pt x="951509" y="112221"/>
                </a:cubicBezTo>
                <a:lnTo>
                  <a:pt x="951509" y="93566"/>
                </a:lnTo>
                <a:close/>
                <a:moveTo>
                  <a:pt x="42388" y="93566"/>
                </a:moveTo>
                <a:cubicBezTo>
                  <a:pt x="37960" y="93566"/>
                  <a:pt x="34118" y="93941"/>
                  <a:pt x="30863" y="94690"/>
                </a:cubicBezTo>
                <a:cubicBezTo>
                  <a:pt x="27607" y="95438"/>
                  <a:pt x="24905" y="96545"/>
                  <a:pt x="22756" y="98010"/>
                </a:cubicBezTo>
                <a:cubicBezTo>
                  <a:pt x="20608" y="99475"/>
                  <a:pt x="19029" y="101233"/>
                  <a:pt x="18019" y="103284"/>
                </a:cubicBezTo>
                <a:cubicBezTo>
                  <a:pt x="17010" y="105336"/>
                  <a:pt x="16506" y="107696"/>
                  <a:pt x="16506" y="110365"/>
                </a:cubicBezTo>
                <a:cubicBezTo>
                  <a:pt x="16506" y="114923"/>
                  <a:pt x="17954" y="118553"/>
                  <a:pt x="20852" y="121255"/>
                </a:cubicBezTo>
                <a:cubicBezTo>
                  <a:pt x="23749" y="123958"/>
                  <a:pt x="27803" y="125309"/>
                  <a:pt x="33012" y="125309"/>
                </a:cubicBezTo>
                <a:cubicBezTo>
                  <a:pt x="37244" y="125309"/>
                  <a:pt x="41167" y="124234"/>
                  <a:pt x="44781" y="122086"/>
                </a:cubicBezTo>
                <a:cubicBezTo>
                  <a:pt x="48394" y="119937"/>
                  <a:pt x="52187" y="116649"/>
                  <a:pt x="56159" y="112221"/>
                </a:cubicBezTo>
                <a:lnTo>
                  <a:pt x="56159" y="93566"/>
                </a:lnTo>
                <a:close/>
                <a:moveTo>
                  <a:pt x="734110" y="55183"/>
                </a:moveTo>
                <a:cubicBezTo>
                  <a:pt x="732014" y="55183"/>
                  <a:pt x="729950" y="55492"/>
                  <a:pt x="727919" y="56111"/>
                </a:cubicBezTo>
                <a:cubicBezTo>
                  <a:pt x="725888" y="56729"/>
                  <a:pt x="723825" y="57706"/>
                  <a:pt x="721729" y="59041"/>
                </a:cubicBezTo>
                <a:cubicBezTo>
                  <a:pt x="719632" y="60375"/>
                  <a:pt x="717438" y="62134"/>
                  <a:pt x="715144" y="64315"/>
                </a:cubicBezTo>
                <a:cubicBezTo>
                  <a:pt x="712851" y="66496"/>
                  <a:pt x="710427" y="69182"/>
                  <a:pt x="707873" y="72372"/>
                </a:cubicBezTo>
                <a:lnTo>
                  <a:pt x="707873" y="107338"/>
                </a:lnTo>
                <a:cubicBezTo>
                  <a:pt x="712328" y="112742"/>
                  <a:pt x="716553" y="116877"/>
                  <a:pt x="720550" y="119742"/>
                </a:cubicBezTo>
                <a:cubicBezTo>
                  <a:pt x="724546" y="122607"/>
                  <a:pt x="728739" y="124039"/>
                  <a:pt x="733128" y="124039"/>
                </a:cubicBezTo>
                <a:cubicBezTo>
                  <a:pt x="737189" y="124039"/>
                  <a:pt x="740677" y="123062"/>
                  <a:pt x="743593" y="121109"/>
                </a:cubicBezTo>
                <a:cubicBezTo>
                  <a:pt x="746508" y="119156"/>
                  <a:pt x="748866" y="116551"/>
                  <a:pt x="750668" y="113295"/>
                </a:cubicBezTo>
                <a:cubicBezTo>
                  <a:pt x="752470" y="110040"/>
                  <a:pt x="753797" y="106394"/>
                  <a:pt x="754648" y="102357"/>
                </a:cubicBezTo>
                <a:cubicBezTo>
                  <a:pt x="755500" y="98320"/>
                  <a:pt x="755926" y="94250"/>
                  <a:pt x="755926" y="90148"/>
                </a:cubicBezTo>
                <a:cubicBezTo>
                  <a:pt x="755926" y="85655"/>
                  <a:pt x="755582" y="81309"/>
                  <a:pt x="754894" y="77109"/>
                </a:cubicBezTo>
                <a:cubicBezTo>
                  <a:pt x="754206" y="72910"/>
                  <a:pt x="753027" y="69182"/>
                  <a:pt x="751357" y="65926"/>
                </a:cubicBezTo>
                <a:cubicBezTo>
                  <a:pt x="749686" y="62671"/>
                  <a:pt x="747442" y="60066"/>
                  <a:pt x="744625" y="58113"/>
                </a:cubicBezTo>
                <a:cubicBezTo>
                  <a:pt x="741808" y="56159"/>
                  <a:pt x="738303" y="55183"/>
                  <a:pt x="734110" y="55183"/>
                </a:cubicBezTo>
                <a:close/>
                <a:moveTo>
                  <a:pt x="496853" y="55183"/>
                </a:moveTo>
                <a:cubicBezTo>
                  <a:pt x="492751" y="55183"/>
                  <a:pt x="489267" y="56159"/>
                  <a:pt x="486403" y="58113"/>
                </a:cubicBezTo>
                <a:cubicBezTo>
                  <a:pt x="483538" y="60066"/>
                  <a:pt x="481210" y="62638"/>
                  <a:pt x="479419" y="65829"/>
                </a:cubicBezTo>
                <a:cubicBezTo>
                  <a:pt x="477629" y="69019"/>
                  <a:pt x="476326" y="72633"/>
                  <a:pt x="475512" y="76670"/>
                </a:cubicBezTo>
                <a:cubicBezTo>
                  <a:pt x="474699" y="80707"/>
                  <a:pt x="474292" y="84809"/>
                  <a:pt x="474292" y="88976"/>
                </a:cubicBezTo>
                <a:cubicBezTo>
                  <a:pt x="474292" y="93404"/>
                  <a:pt x="474634" y="97734"/>
                  <a:pt x="475317" y="101966"/>
                </a:cubicBezTo>
                <a:cubicBezTo>
                  <a:pt x="476001" y="106198"/>
                  <a:pt x="477189" y="109958"/>
                  <a:pt x="478882" y="113247"/>
                </a:cubicBezTo>
                <a:cubicBezTo>
                  <a:pt x="480575" y="116535"/>
                  <a:pt x="482821" y="119172"/>
                  <a:pt x="485621" y="121158"/>
                </a:cubicBezTo>
                <a:cubicBezTo>
                  <a:pt x="488421" y="123144"/>
                  <a:pt x="491937" y="124137"/>
                  <a:pt x="496169" y="124137"/>
                </a:cubicBezTo>
                <a:cubicBezTo>
                  <a:pt x="498318" y="124137"/>
                  <a:pt x="500385" y="123844"/>
                  <a:pt x="502371" y="123258"/>
                </a:cubicBezTo>
                <a:cubicBezTo>
                  <a:pt x="504357" y="122672"/>
                  <a:pt x="506392" y="121695"/>
                  <a:pt x="508476" y="120328"/>
                </a:cubicBezTo>
                <a:cubicBezTo>
                  <a:pt x="510559" y="118960"/>
                  <a:pt x="512741" y="117186"/>
                  <a:pt x="515019" y="115005"/>
                </a:cubicBezTo>
                <a:cubicBezTo>
                  <a:pt x="517298" y="112823"/>
                  <a:pt x="519708" y="110138"/>
                  <a:pt x="522247" y="106947"/>
                </a:cubicBezTo>
                <a:lnTo>
                  <a:pt x="522247" y="71786"/>
                </a:lnTo>
                <a:cubicBezTo>
                  <a:pt x="517884" y="66382"/>
                  <a:pt x="513668" y="62264"/>
                  <a:pt x="509599" y="59431"/>
                </a:cubicBezTo>
                <a:cubicBezTo>
                  <a:pt x="505529" y="56599"/>
                  <a:pt x="501281" y="55183"/>
                  <a:pt x="496853" y="55183"/>
                </a:cubicBezTo>
                <a:close/>
                <a:moveTo>
                  <a:pt x="1491801" y="54792"/>
                </a:moveTo>
                <a:cubicBezTo>
                  <a:pt x="1487005" y="54792"/>
                  <a:pt x="1482882" y="55639"/>
                  <a:pt x="1479433" y="57331"/>
                </a:cubicBezTo>
                <a:cubicBezTo>
                  <a:pt x="1475983" y="59024"/>
                  <a:pt x="1473142" y="61417"/>
                  <a:pt x="1470908" y="64510"/>
                </a:cubicBezTo>
                <a:cubicBezTo>
                  <a:pt x="1468675" y="67603"/>
                  <a:pt x="1467016" y="71266"/>
                  <a:pt x="1465932" y="75498"/>
                </a:cubicBezTo>
                <a:cubicBezTo>
                  <a:pt x="1464848" y="79730"/>
                  <a:pt x="1464306" y="84353"/>
                  <a:pt x="1464306" y="89367"/>
                </a:cubicBezTo>
                <a:cubicBezTo>
                  <a:pt x="1464306" y="94185"/>
                  <a:pt x="1464749" y="98710"/>
                  <a:pt x="1465636" y="102943"/>
                </a:cubicBezTo>
                <a:cubicBezTo>
                  <a:pt x="1466524" y="107175"/>
                  <a:pt x="1468002" y="110870"/>
                  <a:pt x="1470071" y="114028"/>
                </a:cubicBezTo>
                <a:cubicBezTo>
                  <a:pt x="1472140" y="117186"/>
                  <a:pt x="1474916" y="119693"/>
                  <a:pt x="1478398" y="121548"/>
                </a:cubicBezTo>
                <a:cubicBezTo>
                  <a:pt x="1481880" y="123404"/>
                  <a:pt x="1486217" y="124332"/>
                  <a:pt x="1491407" y="124332"/>
                </a:cubicBezTo>
                <a:cubicBezTo>
                  <a:pt x="1496138" y="124332"/>
                  <a:pt x="1500244" y="123486"/>
                  <a:pt x="1503726" y="121793"/>
                </a:cubicBezTo>
                <a:cubicBezTo>
                  <a:pt x="1507208" y="120100"/>
                  <a:pt x="1510066" y="117723"/>
                  <a:pt x="1512300" y="114663"/>
                </a:cubicBezTo>
                <a:cubicBezTo>
                  <a:pt x="1514534" y="111603"/>
                  <a:pt x="1516176" y="107956"/>
                  <a:pt x="1517227" y="103724"/>
                </a:cubicBezTo>
                <a:cubicBezTo>
                  <a:pt x="1518279" y="99492"/>
                  <a:pt x="1518805" y="94836"/>
                  <a:pt x="1518805" y="89757"/>
                </a:cubicBezTo>
                <a:cubicBezTo>
                  <a:pt x="1518805" y="85004"/>
                  <a:pt x="1518361" y="80511"/>
                  <a:pt x="1517474" y="76279"/>
                </a:cubicBezTo>
                <a:cubicBezTo>
                  <a:pt x="1516587" y="72047"/>
                  <a:pt x="1515125" y="68335"/>
                  <a:pt x="1513088" y="65145"/>
                </a:cubicBezTo>
                <a:cubicBezTo>
                  <a:pt x="1511051" y="61954"/>
                  <a:pt x="1508292" y="59431"/>
                  <a:pt x="1504810" y="57576"/>
                </a:cubicBezTo>
                <a:cubicBezTo>
                  <a:pt x="1501328" y="55720"/>
                  <a:pt x="1496991" y="54792"/>
                  <a:pt x="1491801" y="54792"/>
                </a:cubicBezTo>
                <a:close/>
                <a:moveTo>
                  <a:pt x="298639" y="53913"/>
                </a:moveTo>
                <a:cubicBezTo>
                  <a:pt x="294643" y="53913"/>
                  <a:pt x="291138" y="54662"/>
                  <a:pt x="288125" y="56159"/>
                </a:cubicBezTo>
                <a:cubicBezTo>
                  <a:pt x="285111" y="57657"/>
                  <a:pt x="282589" y="59643"/>
                  <a:pt x="280558" y="62117"/>
                </a:cubicBezTo>
                <a:cubicBezTo>
                  <a:pt x="278527" y="64591"/>
                  <a:pt x="276954" y="67473"/>
                  <a:pt x="275841" y="70761"/>
                </a:cubicBezTo>
                <a:cubicBezTo>
                  <a:pt x="274727" y="74049"/>
                  <a:pt x="274105" y="77484"/>
                  <a:pt x="273974" y="81065"/>
                </a:cubicBezTo>
                <a:lnTo>
                  <a:pt x="321929" y="81065"/>
                </a:lnTo>
                <a:cubicBezTo>
                  <a:pt x="322124" y="72600"/>
                  <a:pt x="320241" y="65959"/>
                  <a:pt x="316278" y="61141"/>
                </a:cubicBezTo>
                <a:cubicBezTo>
                  <a:pt x="312315" y="56322"/>
                  <a:pt x="306436" y="53913"/>
                  <a:pt x="298639" y="53913"/>
                </a:cubicBezTo>
                <a:close/>
                <a:moveTo>
                  <a:pt x="575941" y="42681"/>
                </a:moveTo>
                <a:cubicBezTo>
                  <a:pt x="577569" y="42681"/>
                  <a:pt x="578904" y="42746"/>
                  <a:pt x="579946" y="42877"/>
                </a:cubicBezTo>
                <a:cubicBezTo>
                  <a:pt x="580987" y="43007"/>
                  <a:pt x="581801" y="43202"/>
                  <a:pt x="582387" y="43463"/>
                </a:cubicBezTo>
                <a:cubicBezTo>
                  <a:pt x="582973" y="43723"/>
                  <a:pt x="583397" y="44049"/>
                  <a:pt x="583657" y="44439"/>
                </a:cubicBezTo>
                <a:cubicBezTo>
                  <a:pt x="583917" y="44830"/>
                  <a:pt x="584048" y="45253"/>
                  <a:pt x="584048" y="45709"/>
                </a:cubicBezTo>
                <a:lnTo>
                  <a:pt x="584048" y="133611"/>
                </a:lnTo>
                <a:cubicBezTo>
                  <a:pt x="584048" y="134131"/>
                  <a:pt x="583917" y="134571"/>
                  <a:pt x="583657" y="134929"/>
                </a:cubicBezTo>
                <a:cubicBezTo>
                  <a:pt x="583397" y="135287"/>
                  <a:pt x="582973" y="135596"/>
                  <a:pt x="582387" y="135857"/>
                </a:cubicBezTo>
                <a:cubicBezTo>
                  <a:pt x="581801" y="136117"/>
                  <a:pt x="580987" y="136313"/>
                  <a:pt x="579946" y="136443"/>
                </a:cubicBezTo>
                <a:cubicBezTo>
                  <a:pt x="578904" y="136573"/>
                  <a:pt x="577569" y="136638"/>
                  <a:pt x="575941" y="136638"/>
                </a:cubicBezTo>
                <a:cubicBezTo>
                  <a:pt x="574378" y="136638"/>
                  <a:pt x="573076" y="136573"/>
                  <a:pt x="572034" y="136443"/>
                </a:cubicBezTo>
                <a:cubicBezTo>
                  <a:pt x="570993" y="136313"/>
                  <a:pt x="570163" y="136117"/>
                  <a:pt x="569544" y="135857"/>
                </a:cubicBezTo>
                <a:cubicBezTo>
                  <a:pt x="568925" y="135596"/>
                  <a:pt x="568502" y="135287"/>
                  <a:pt x="568274" y="134929"/>
                </a:cubicBezTo>
                <a:cubicBezTo>
                  <a:pt x="568046" y="134571"/>
                  <a:pt x="567932" y="134131"/>
                  <a:pt x="567932" y="133611"/>
                </a:cubicBezTo>
                <a:lnTo>
                  <a:pt x="567932" y="45709"/>
                </a:lnTo>
                <a:cubicBezTo>
                  <a:pt x="567932" y="45253"/>
                  <a:pt x="568046" y="44830"/>
                  <a:pt x="568274" y="44439"/>
                </a:cubicBezTo>
                <a:cubicBezTo>
                  <a:pt x="568502" y="44049"/>
                  <a:pt x="568925" y="43723"/>
                  <a:pt x="569544" y="43463"/>
                </a:cubicBezTo>
                <a:cubicBezTo>
                  <a:pt x="570163" y="43202"/>
                  <a:pt x="570993" y="43007"/>
                  <a:pt x="572034" y="42877"/>
                </a:cubicBezTo>
                <a:cubicBezTo>
                  <a:pt x="573076" y="42746"/>
                  <a:pt x="574378" y="42681"/>
                  <a:pt x="575941" y="42681"/>
                </a:cubicBezTo>
                <a:close/>
                <a:moveTo>
                  <a:pt x="1402900" y="41412"/>
                </a:moveTo>
                <a:cubicBezTo>
                  <a:pt x="1405700" y="41412"/>
                  <a:pt x="1408418" y="41672"/>
                  <a:pt x="1411055" y="42193"/>
                </a:cubicBezTo>
                <a:cubicBezTo>
                  <a:pt x="1413692" y="42714"/>
                  <a:pt x="1416118" y="43397"/>
                  <a:pt x="1418332" y="44244"/>
                </a:cubicBezTo>
                <a:cubicBezTo>
                  <a:pt x="1420546" y="45090"/>
                  <a:pt x="1422515" y="46067"/>
                  <a:pt x="1424241" y="47174"/>
                </a:cubicBezTo>
                <a:cubicBezTo>
                  <a:pt x="1425966" y="48281"/>
                  <a:pt x="1427220" y="49225"/>
                  <a:pt x="1428001" y="50006"/>
                </a:cubicBezTo>
                <a:cubicBezTo>
                  <a:pt x="1428782" y="50788"/>
                  <a:pt x="1429319" y="51406"/>
                  <a:pt x="1429612" y="51862"/>
                </a:cubicBezTo>
                <a:cubicBezTo>
                  <a:pt x="1429905" y="52318"/>
                  <a:pt x="1430150" y="52855"/>
                  <a:pt x="1430345" y="53474"/>
                </a:cubicBezTo>
                <a:cubicBezTo>
                  <a:pt x="1430540" y="54092"/>
                  <a:pt x="1430670" y="54792"/>
                  <a:pt x="1430736" y="55573"/>
                </a:cubicBezTo>
                <a:cubicBezTo>
                  <a:pt x="1430801" y="56355"/>
                  <a:pt x="1430833" y="57331"/>
                  <a:pt x="1430833" y="58503"/>
                </a:cubicBezTo>
                <a:cubicBezTo>
                  <a:pt x="1430833" y="61043"/>
                  <a:pt x="1430540" y="62817"/>
                  <a:pt x="1429954" y="63826"/>
                </a:cubicBezTo>
                <a:cubicBezTo>
                  <a:pt x="1429368" y="64836"/>
                  <a:pt x="1428652" y="65340"/>
                  <a:pt x="1427806" y="65340"/>
                </a:cubicBezTo>
                <a:cubicBezTo>
                  <a:pt x="1426829" y="65340"/>
                  <a:pt x="1425706" y="64803"/>
                  <a:pt x="1424436" y="63729"/>
                </a:cubicBezTo>
                <a:cubicBezTo>
                  <a:pt x="1423166" y="62654"/>
                  <a:pt x="1421555" y="61466"/>
                  <a:pt x="1419601" y="60164"/>
                </a:cubicBezTo>
                <a:cubicBezTo>
                  <a:pt x="1417648" y="58862"/>
                  <a:pt x="1415288" y="57673"/>
                  <a:pt x="1412520" y="56599"/>
                </a:cubicBezTo>
                <a:cubicBezTo>
                  <a:pt x="1409753" y="55525"/>
                  <a:pt x="1406481" y="54987"/>
                  <a:pt x="1402705" y="54987"/>
                </a:cubicBezTo>
                <a:cubicBezTo>
                  <a:pt x="1394956" y="54987"/>
                  <a:pt x="1389015" y="57966"/>
                  <a:pt x="1384880" y="63924"/>
                </a:cubicBezTo>
                <a:cubicBezTo>
                  <a:pt x="1380746" y="69882"/>
                  <a:pt x="1378678" y="78526"/>
                  <a:pt x="1378678" y="89855"/>
                </a:cubicBezTo>
                <a:cubicBezTo>
                  <a:pt x="1378678" y="95520"/>
                  <a:pt x="1379215" y="100485"/>
                  <a:pt x="1380290" y="104750"/>
                </a:cubicBezTo>
                <a:cubicBezTo>
                  <a:pt x="1381364" y="109014"/>
                  <a:pt x="1382943" y="112579"/>
                  <a:pt x="1385027" y="115444"/>
                </a:cubicBezTo>
                <a:cubicBezTo>
                  <a:pt x="1387110" y="118309"/>
                  <a:pt x="1389666" y="120442"/>
                  <a:pt x="1392694" y="121841"/>
                </a:cubicBezTo>
                <a:cubicBezTo>
                  <a:pt x="1395721" y="123241"/>
                  <a:pt x="1399189" y="123941"/>
                  <a:pt x="1403095" y="123941"/>
                </a:cubicBezTo>
                <a:cubicBezTo>
                  <a:pt x="1406807" y="123941"/>
                  <a:pt x="1410062" y="123355"/>
                  <a:pt x="1412862" y="122183"/>
                </a:cubicBezTo>
                <a:cubicBezTo>
                  <a:pt x="1415662" y="121011"/>
                  <a:pt x="1418088" y="119725"/>
                  <a:pt x="1420139" y="118325"/>
                </a:cubicBezTo>
                <a:cubicBezTo>
                  <a:pt x="1422190" y="116926"/>
                  <a:pt x="1423915" y="115656"/>
                  <a:pt x="1425315" y="114516"/>
                </a:cubicBezTo>
                <a:cubicBezTo>
                  <a:pt x="1426715" y="113377"/>
                  <a:pt x="1427806" y="112807"/>
                  <a:pt x="1428587" y="112807"/>
                </a:cubicBezTo>
                <a:cubicBezTo>
                  <a:pt x="1429043" y="112807"/>
                  <a:pt x="1429433" y="112937"/>
                  <a:pt x="1429759" y="113198"/>
                </a:cubicBezTo>
                <a:cubicBezTo>
                  <a:pt x="1430084" y="113458"/>
                  <a:pt x="1430361" y="113898"/>
                  <a:pt x="1430589" y="114516"/>
                </a:cubicBezTo>
                <a:cubicBezTo>
                  <a:pt x="1430817" y="115135"/>
                  <a:pt x="1430980" y="115916"/>
                  <a:pt x="1431077" y="116860"/>
                </a:cubicBezTo>
                <a:cubicBezTo>
                  <a:pt x="1431175" y="117805"/>
                  <a:pt x="1431224" y="118928"/>
                  <a:pt x="1431224" y="120230"/>
                </a:cubicBezTo>
                <a:cubicBezTo>
                  <a:pt x="1431224" y="121337"/>
                  <a:pt x="1431191" y="122297"/>
                  <a:pt x="1431126" y="123111"/>
                </a:cubicBezTo>
                <a:cubicBezTo>
                  <a:pt x="1431061" y="123925"/>
                  <a:pt x="1430947" y="124609"/>
                  <a:pt x="1430784" y="125162"/>
                </a:cubicBezTo>
                <a:cubicBezTo>
                  <a:pt x="1430622" y="125716"/>
                  <a:pt x="1430426" y="126204"/>
                  <a:pt x="1430198" y="126627"/>
                </a:cubicBezTo>
                <a:cubicBezTo>
                  <a:pt x="1429971" y="127050"/>
                  <a:pt x="1429450" y="127669"/>
                  <a:pt x="1428636" y="128483"/>
                </a:cubicBezTo>
                <a:cubicBezTo>
                  <a:pt x="1427822" y="129297"/>
                  <a:pt x="1426438" y="130306"/>
                  <a:pt x="1424485" y="131511"/>
                </a:cubicBezTo>
                <a:cubicBezTo>
                  <a:pt x="1422531" y="132715"/>
                  <a:pt x="1420334" y="133790"/>
                  <a:pt x="1417892" y="134734"/>
                </a:cubicBezTo>
                <a:cubicBezTo>
                  <a:pt x="1415450" y="135678"/>
                  <a:pt x="1412797" y="136443"/>
                  <a:pt x="1409932" y="137029"/>
                </a:cubicBezTo>
                <a:cubicBezTo>
                  <a:pt x="1407067" y="137615"/>
                  <a:pt x="1404105" y="137908"/>
                  <a:pt x="1401044" y="137908"/>
                </a:cubicBezTo>
                <a:cubicBezTo>
                  <a:pt x="1394729" y="137908"/>
                  <a:pt x="1389129" y="136866"/>
                  <a:pt x="1384245" y="134783"/>
                </a:cubicBezTo>
                <a:cubicBezTo>
                  <a:pt x="1379362" y="132699"/>
                  <a:pt x="1375276" y="129655"/>
                  <a:pt x="1371988" y="125651"/>
                </a:cubicBezTo>
                <a:cubicBezTo>
                  <a:pt x="1368700" y="121646"/>
                  <a:pt x="1366193" y="116730"/>
                  <a:pt x="1364468" y="110903"/>
                </a:cubicBezTo>
                <a:cubicBezTo>
                  <a:pt x="1362742" y="105075"/>
                  <a:pt x="1361879" y="98352"/>
                  <a:pt x="1361879" y="90734"/>
                </a:cubicBezTo>
                <a:cubicBezTo>
                  <a:pt x="1361879" y="82074"/>
                  <a:pt x="1362937" y="74635"/>
                  <a:pt x="1365054" y="68417"/>
                </a:cubicBezTo>
                <a:cubicBezTo>
                  <a:pt x="1367170" y="62199"/>
                  <a:pt x="1370067" y="57104"/>
                  <a:pt x="1373746" y="53132"/>
                </a:cubicBezTo>
                <a:cubicBezTo>
                  <a:pt x="1377425" y="49160"/>
                  <a:pt x="1381755" y="46214"/>
                  <a:pt x="1386736" y="44293"/>
                </a:cubicBezTo>
                <a:cubicBezTo>
                  <a:pt x="1391717" y="42372"/>
                  <a:pt x="1397105" y="41412"/>
                  <a:pt x="1402900" y="41412"/>
                </a:cubicBezTo>
                <a:close/>
                <a:moveTo>
                  <a:pt x="212275" y="41412"/>
                </a:moveTo>
                <a:cubicBezTo>
                  <a:pt x="215075" y="41412"/>
                  <a:pt x="217793" y="41672"/>
                  <a:pt x="220430" y="42193"/>
                </a:cubicBezTo>
                <a:cubicBezTo>
                  <a:pt x="223067" y="42714"/>
                  <a:pt x="225493" y="43397"/>
                  <a:pt x="227707" y="44244"/>
                </a:cubicBezTo>
                <a:cubicBezTo>
                  <a:pt x="229920" y="45090"/>
                  <a:pt x="231890" y="46067"/>
                  <a:pt x="233616" y="47174"/>
                </a:cubicBezTo>
                <a:cubicBezTo>
                  <a:pt x="235341" y="48281"/>
                  <a:pt x="236594" y="49225"/>
                  <a:pt x="237376" y="50006"/>
                </a:cubicBezTo>
                <a:cubicBezTo>
                  <a:pt x="238157" y="50788"/>
                  <a:pt x="238694" y="51406"/>
                  <a:pt x="238987" y="51862"/>
                </a:cubicBezTo>
                <a:cubicBezTo>
                  <a:pt x="239280" y="52318"/>
                  <a:pt x="239525" y="52855"/>
                  <a:pt x="239720" y="53474"/>
                </a:cubicBezTo>
                <a:cubicBezTo>
                  <a:pt x="239915" y="54092"/>
                  <a:pt x="240045" y="54792"/>
                  <a:pt x="240111" y="55573"/>
                </a:cubicBezTo>
                <a:cubicBezTo>
                  <a:pt x="240176" y="56355"/>
                  <a:pt x="240208" y="57331"/>
                  <a:pt x="240208" y="58503"/>
                </a:cubicBezTo>
                <a:cubicBezTo>
                  <a:pt x="240208" y="61043"/>
                  <a:pt x="239915" y="62817"/>
                  <a:pt x="239329" y="63826"/>
                </a:cubicBezTo>
                <a:cubicBezTo>
                  <a:pt x="238743" y="64836"/>
                  <a:pt x="238027" y="65340"/>
                  <a:pt x="237180" y="65340"/>
                </a:cubicBezTo>
                <a:cubicBezTo>
                  <a:pt x="236204" y="65340"/>
                  <a:pt x="235081" y="64803"/>
                  <a:pt x="233811" y="63729"/>
                </a:cubicBezTo>
                <a:cubicBezTo>
                  <a:pt x="232541" y="62654"/>
                  <a:pt x="230930" y="61466"/>
                  <a:pt x="228976" y="60164"/>
                </a:cubicBezTo>
                <a:cubicBezTo>
                  <a:pt x="227023" y="58862"/>
                  <a:pt x="224663" y="57673"/>
                  <a:pt x="221895" y="56599"/>
                </a:cubicBezTo>
                <a:cubicBezTo>
                  <a:pt x="219128" y="55525"/>
                  <a:pt x="215856" y="54987"/>
                  <a:pt x="212080" y="54987"/>
                </a:cubicBezTo>
                <a:cubicBezTo>
                  <a:pt x="204331" y="54987"/>
                  <a:pt x="198390" y="57966"/>
                  <a:pt x="194255" y="63924"/>
                </a:cubicBezTo>
                <a:cubicBezTo>
                  <a:pt x="190121" y="69882"/>
                  <a:pt x="188053" y="78526"/>
                  <a:pt x="188053" y="89855"/>
                </a:cubicBezTo>
                <a:cubicBezTo>
                  <a:pt x="188053" y="95520"/>
                  <a:pt x="188590" y="100485"/>
                  <a:pt x="189665" y="104750"/>
                </a:cubicBezTo>
                <a:cubicBezTo>
                  <a:pt x="190739" y="109014"/>
                  <a:pt x="192318" y="112579"/>
                  <a:pt x="194402" y="115444"/>
                </a:cubicBezTo>
                <a:cubicBezTo>
                  <a:pt x="196485" y="118309"/>
                  <a:pt x="199041" y="120442"/>
                  <a:pt x="202069" y="121841"/>
                </a:cubicBezTo>
                <a:cubicBezTo>
                  <a:pt x="205096" y="123241"/>
                  <a:pt x="208564" y="123941"/>
                  <a:pt x="212470" y="123941"/>
                </a:cubicBezTo>
                <a:cubicBezTo>
                  <a:pt x="216182" y="123941"/>
                  <a:pt x="219437" y="123355"/>
                  <a:pt x="222237" y="122183"/>
                </a:cubicBezTo>
                <a:cubicBezTo>
                  <a:pt x="225037" y="121011"/>
                  <a:pt x="227462" y="119725"/>
                  <a:pt x="229513" y="118325"/>
                </a:cubicBezTo>
                <a:cubicBezTo>
                  <a:pt x="231565" y="116926"/>
                  <a:pt x="233290" y="115656"/>
                  <a:pt x="234690" y="114516"/>
                </a:cubicBezTo>
                <a:cubicBezTo>
                  <a:pt x="236090" y="113377"/>
                  <a:pt x="237180" y="112807"/>
                  <a:pt x="237962" y="112807"/>
                </a:cubicBezTo>
                <a:cubicBezTo>
                  <a:pt x="238418" y="112807"/>
                  <a:pt x="238808" y="112937"/>
                  <a:pt x="239134" y="113198"/>
                </a:cubicBezTo>
                <a:cubicBezTo>
                  <a:pt x="239459" y="113458"/>
                  <a:pt x="239736" y="113898"/>
                  <a:pt x="239964" y="114516"/>
                </a:cubicBezTo>
                <a:cubicBezTo>
                  <a:pt x="240192" y="115135"/>
                  <a:pt x="240355" y="115916"/>
                  <a:pt x="240452" y="116860"/>
                </a:cubicBezTo>
                <a:cubicBezTo>
                  <a:pt x="240550" y="117805"/>
                  <a:pt x="240599" y="118928"/>
                  <a:pt x="240599" y="120230"/>
                </a:cubicBezTo>
                <a:cubicBezTo>
                  <a:pt x="240599" y="121337"/>
                  <a:pt x="240566" y="122297"/>
                  <a:pt x="240501" y="123111"/>
                </a:cubicBezTo>
                <a:cubicBezTo>
                  <a:pt x="240436" y="123925"/>
                  <a:pt x="240322" y="124609"/>
                  <a:pt x="240159" y="125162"/>
                </a:cubicBezTo>
                <a:cubicBezTo>
                  <a:pt x="239997" y="125716"/>
                  <a:pt x="239801" y="126204"/>
                  <a:pt x="239573" y="126627"/>
                </a:cubicBezTo>
                <a:cubicBezTo>
                  <a:pt x="239345" y="127050"/>
                  <a:pt x="238825" y="127669"/>
                  <a:pt x="238011" y="128483"/>
                </a:cubicBezTo>
                <a:cubicBezTo>
                  <a:pt x="237197" y="129297"/>
                  <a:pt x="235813" y="130306"/>
                  <a:pt x="233860" y="131511"/>
                </a:cubicBezTo>
                <a:cubicBezTo>
                  <a:pt x="231906" y="132715"/>
                  <a:pt x="229709" y="133790"/>
                  <a:pt x="227267" y="134734"/>
                </a:cubicBezTo>
                <a:cubicBezTo>
                  <a:pt x="224825" y="135678"/>
                  <a:pt x="222172" y="136443"/>
                  <a:pt x="219307" y="137029"/>
                </a:cubicBezTo>
                <a:cubicBezTo>
                  <a:pt x="216442" y="137615"/>
                  <a:pt x="213480" y="137908"/>
                  <a:pt x="210419" y="137908"/>
                </a:cubicBezTo>
                <a:cubicBezTo>
                  <a:pt x="204103" y="137908"/>
                  <a:pt x="198504" y="136866"/>
                  <a:pt x="193620" y="134783"/>
                </a:cubicBezTo>
                <a:cubicBezTo>
                  <a:pt x="188737" y="132699"/>
                  <a:pt x="184651" y="129655"/>
                  <a:pt x="181363" y="125651"/>
                </a:cubicBezTo>
                <a:cubicBezTo>
                  <a:pt x="178075" y="121646"/>
                  <a:pt x="175568" y="116730"/>
                  <a:pt x="173842" y="110903"/>
                </a:cubicBezTo>
                <a:cubicBezTo>
                  <a:pt x="172117" y="105075"/>
                  <a:pt x="171254" y="98352"/>
                  <a:pt x="171254" y="90734"/>
                </a:cubicBezTo>
                <a:cubicBezTo>
                  <a:pt x="171254" y="82074"/>
                  <a:pt x="172312" y="74635"/>
                  <a:pt x="174428" y="68417"/>
                </a:cubicBezTo>
                <a:cubicBezTo>
                  <a:pt x="176545" y="62199"/>
                  <a:pt x="179442" y="57104"/>
                  <a:pt x="183121" y="53132"/>
                </a:cubicBezTo>
                <a:cubicBezTo>
                  <a:pt x="186800" y="49160"/>
                  <a:pt x="191130" y="46214"/>
                  <a:pt x="196111" y="44293"/>
                </a:cubicBezTo>
                <a:cubicBezTo>
                  <a:pt x="201092" y="42372"/>
                  <a:pt x="206480" y="41412"/>
                  <a:pt x="212275" y="41412"/>
                </a:cubicBezTo>
                <a:close/>
                <a:moveTo>
                  <a:pt x="1601604" y="41314"/>
                </a:moveTo>
                <a:cubicBezTo>
                  <a:pt x="1605251" y="41314"/>
                  <a:pt x="1608522" y="41737"/>
                  <a:pt x="1611420" y="42584"/>
                </a:cubicBezTo>
                <a:cubicBezTo>
                  <a:pt x="1614317" y="43430"/>
                  <a:pt x="1616873" y="44618"/>
                  <a:pt x="1619087" y="46148"/>
                </a:cubicBezTo>
                <a:cubicBezTo>
                  <a:pt x="1621301" y="47679"/>
                  <a:pt x="1623189" y="49502"/>
                  <a:pt x="1624752" y="51618"/>
                </a:cubicBezTo>
                <a:cubicBezTo>
                  <a:pt x="1626314" y="53734"/>
                  <a:pt x="1627617" y="56094"/>
                  <a:pt x="1628658" y="58699"/>
                </a:cubicBezTo>
                <a:cubicBezTo>
                  <a:pt x="1631588" y="55508"/>
                  <a:pt x="1634372" y="52806"/>
                  <a:pt x="1637009" y="50592"/>
                </a:cubicBezTo>
                <a:cubicBezTo>
                  <a:pt x="1639646" y="48379"/>
                  <a:pt x="1642185" y="46588"/>
                  <a:pt x="1644627" y="45221"/>
                </a:cubicBezTo>
                <a:cubicBezTo>
                  <a:pt x="1647069" y="43853"/>
                  <a:pt x="1649446" y="42860"/>
                  <a:pt x="1651757" y="42242"/>
                </a:cubicBezTo>
                <a:cubicBezTo>
                  <a:pt x="1654068" y="41623"/>
                  <a:pt x="1656396" y="41314"/>
                  <a:pt x="1658740" y="41314"/>
                </a:cubicBezTo>
                <a:cubicBezTo>
                  <a:pt x="1664405" y="41314"/>
                  <a:pt x="1669158" y="42307"/>
                  <a:pt x="1673000" y="44293"/>
                </a:cubicBezTo>
                <a:cubicBezTo>
                  <a:pt x="1676842" y="46279"/>
                  <a:pt x="1679951" y="48932"/>
                  <a:pt x="1682327" y="52253"/>
                </a:cubicBezTo>
                <a:cubicBezTo>
                  <a:pt x="1684704" y="55573"/>
                  <a:pt x="1686397" y="59464"/>
                  <a:pt x="1687406" y="63924"/>
                </a:cubicBezTo>
                <a:cubicBezTo>
                  <a:pt x="1688415" y="68384"/>
                  <a:pt x="1688920" y="73089"/>
                  <a:pt x="1688920" y="78037"/>
                </a:cubicBezTo>
                <a:lnTo>
                  <a:pt x="1688920" y="133611"/>
                </a:lnTo>
                <a:cubicBezTo>
                  <a:pt x="1688920" y="134131"/>
                  <a:pt x="1688790" y="134571"/>
                  <a:pt x="1688529" y="134929"/>
                </a:cubicBezTo>
                <a:cubicBezTo>
                  <a:pt x="1688269" y="135287"/>
                  <a:pt x="1687845" y="135596"/>
                  <a:pt x="1687259" y="135857"/>
                </a:cubicBezTo>
                <a:cubicBezTo>
                  <a:pt x="1686673" y="136117"/>
                  <a:pt x="1685860" y="136313"/>
                  <a:pt x="1684818" y="136443"/>
                </a:cubicBezTo>
                <a:cubicBezTo>
                  <a:pt x="1683776" y="136573"/>
                  <a:pt x="1682474" y="136638"/>
                  <a:pt x="1680911" y="136638"/>
                </a:cubicBezTo>
                <a:cubicBezTo>
                  <a:pt x="1679283" y="136638"/>
                  <a:pt x="1677948" y="136573"/>
                  <a:pt x="1676907" y="136443"/>
                </a:cubicBezTo>
                <a:cubicBezTo>
                  <a:pt x="1675865" y="136313"/>
                  <a:pt x="1675035" y="136117"/>
                  <a:pt x="1674416" y="135857"/>
                </a:cubicBezTo>
                <a:cubicBezTo>
                  <a:pt x="1673798" y="135596"/>
                  <a:pt x="1673358" y="135287"/>
                  <a:pt x="1673098" y="134929"/>
                </a:cubicBezTo>
                <a:cubicBezTo>
                  <a:pt x="1672837" y="134571"/>
                  <a:pt x="1672707" y="134131"/>
                  <a:pt x="1672707" y="133611"/>
                </a:cubicBezTo>
                <a:lnTo>
                  <a:pt x="1672707" y="80186"/>
                </a:lnTo>
                <a:cubicBezTo>
                  <a:pt x="1672707" y="76474"/>
                  <a:pt x="1672381" y="73089"/>
                  <a:pt x="1671730" y="70028"/>
                </a:cubicBezTo>
                <a:cubicBezTo>
                  <a:pt x="1671079" y="66968"/>
                  <a:pt x="1670037" y="64331"/>
                  <a:pt x="1668605" y="62117"/>
                </a:cubicBezTo>
                <a:cubicBezTo>
                  <a:pt x="1667172" y="59903"/>
                  <a:pt x="1665349" y="58210"/>
                  <a:pt x="1663135" y="57038"/>
                </a:cubicBezTo>
                <a:cubicBezTo>
                  <a:pt x="1660922" y="55866"/>
                  <a:pt x="1658317" y="55280"/>
                  <a:pt x="1655322" y="55280"/>
                </a:cubicBezTo>
                <a:cubicBezTo>
                  <a:pt x="1651611" y="55280"/>
                  <a:pt x="1647883" y="56713"/>
                  <a:pt x="1644139" y="59578"/>
                </a:cubicBezTo>
                <a:cubicBezTo>
                  <a:pt x="1640395" y="62443"/>
                  <a:pt x="1636277" y="66643"/>
                  <a:pt x="1631784" y="72177"/>
                </a:cubicBezTo>
                <a:lnTo>
                  <a:pt x="1631784" y="133611"/>
                </a:lnTo>
                <a:cubicBezTo>
                  <a:pt x="1631784" y="134131"/>
                  <a:pt x="1631654" y="134571"/>
                  <a:pt x="1631393" y="134929"/>
                </a:cubicBezTo>
                <a:cubicBezTo>
                  <a:pt x="1631133" y="135287"/>
                  <a:pt x="1630693" y="135596"/>
                  <a:pt x="1630075" y="135857"/>
                </a:cubicBezTo>
                <a:cubicBezTo>
                  <a:pt x="1629456" y="136117"/>
                  <a:pt x="1628626" y="136313"/>
                  <a:pt x="1627584" y="136443"/>
                </a:cubicBezTo>
                <a:cubicBezTo>
                  <a:pt x="1626542" y="136573"/>
                  <a:pt x="1625240" y="136638"/>
                  <a:pt x="1623677" y="136638"/>
                </a:cubicBezTo>
                <a:cubicBezTo>
                  <a:pt x="1622180" y="136638"/>
                  <a:pt x="1620894" y="136573"/>
                  <a:pt x="1619819" y="136443"/>
                </a:cubicBezTo>
                <a:cubicBezTo>
                  <a:pt x="1618745" y="136313"/>
                  <a:pt x="1617899" y="136117"/>
                  <a:pt x="1617280" y="135857"/>
                </a:cubicBezTo>
                <a:cubicBezTo>
                  <a:pt x="1616661" y="135596"/>
                  <a:pt x="1616238" y="135287"/>
                  <a:pt x="1616010" y="134929"/>
                </a:cubicBezTo>
                <a:cubicBezTo>
                  <a:pt x="1615782" y="134571"/>
                  <a:pt x="1615669" y="134131"/>
                  <a:pt x="1615669" y="133611"/>
                </a:cubicBezTo>
                <a:lnTo>
                  <a:pt x="1615669" y="80186"/>
                </a:lnTo>
                <a:cubicBezTo>
                  <a:pt x="1615669" y="76474"/>
                  <a:pt x="1615310" y="73089"/>
                  <a:pt x="1614594" y="70028"/>
                </a:cubicBezTo>
                <a:cubicBezTo>
                  <a:pt x="1613878" y="66968"/>
                  <a:pt x="1612804" y="64331"/>
                  <a:pt x="1611371" y="62117"/>
                </a:cubicBezTo>
                <a:cubicBezTo>
                  <a:pt x="1609939" y="59903"/>
                  <a:pt x="1608132" y="58210"/>
                  <a:pt x="1605950" y="57038"/>
                </a:cubicBezTo>
                <a:cubicBezTo>
                  <a:pt x="1603769" y="55866"/>
                  <a:pt x="1601181" y="55280"/>
                  <a:pt x="1598186" y="55280"/>
                </a:cubicBezTo>
                <a:cubicBezTo>
                  <a:pt x="1594474" y="55280"/>
                  <a:pt x="1590730" y="56713"/>
                  <a:pt x="1586954" y="59578"/>
                </a:cubicBezTo>
                <a:cubicBezTo>
                  <a:pt x="1583177" y="62443"/>
                  <a:pt x="1579075" y="66643"/>
                  <a:pt x="1574648" y="72177"/>
                </a:cubicBezTo>
                <a:lnTo>
                  <a:pt x="1574648" y="133611"/>
                </a:lnTo>
                <a:cubicBezTo>
                  <a:pt x="1574648" y="134131"/>
                  <a:pt x="1574518" y="134571"/>
                  <a:pt x="1574257" y="134929"/>
                </a:cubicBezTo>
                <a:cubicBezTo>
                  <a:pt x="1573997" y="135287"/>
                  <a:pt x="1573573" y="135596"/>
                  <a:pt x="1572987" y="135857"/>
                </a:cubicBezTo>
                <a:cubicBezTo>
                  <a:pt x="1572401" y="136117"/>
                  <a:pt x="1571587" y="136313"/>
                  <a:pt x="1570546" y="136443"/>
                </a:cubicBezTo>
                <a:cubicBezTo>
                  <a:pt x="1569504" y="136573"/>
                  <a:pt x="1568169" y="136638"/>
                  <a:pt x="1566541" y="136638"/>
                </a:cubicBezTo>
                <a:cubicBezTo>
                  <a:pt x="1564979" y="136638"/>
                  <a:pt x="1563676" y="136573"/>
                  <a:pt x="1562635" y="136443"/>
                </a:cubicBezTo>
                <a:cubicBezTo>
                  <a:pt x="1561593" y="136313"/>
                  <a:pt x="1560763" y="136117"/>
                  <a:pt x="1560144" y="135857"/>
                </a:cubicBezTo>
                <a:cubicBezTo>
                  <a:pt x="1559525" y="135596"/>
                  <a:pt x="1559102" y="135287"/>
                  <a:pt x="1558874" y="134929"/>
                </a:cubicBezTo>
                <a:cubicBezTo>
                  <a:pt x="1558646" y="134571"/>
                  <a:pt x="1558532" y="134131"/>
                  <a:pt x="1558532" y="133611"/>
                </a:cubicBezTo>
                <a:lnTo>
                  <a:pt x="1558532" y="45709"/>
                </a:lnTo>
                <a:cubicBezTo>
                  <a:pt x="1558532" y="45188"/>
                  <a:pt x="1558630" y="44749"/>
                  <a:pt x="1558825" y="44390"/>
                </a:cubicBezTo>
                <a:cubicBezTo>
                  <a:pt x="1559021" y="44032"/>
                  <a:pt x="1559411" y="43707"/>
                  <a:pt x="1559997" y="43414"/>
                </a:cubicBezTo>
                <a:cubicBezTo>
                  <a:pt x="1560583" y="43121"/>
                  <a:pt x="1561332" y="42925"/>
                  <a:pt x="1562244" y="42828"/>
                </a:cubicBezTo>
                <a:cubicBezTo>
                  <a:pt x="1563155" y="42730"/>
                  <a:pt x="1564360" y="42681"/>
                  <a:pt x="1565858" y="42681"/>
                </a:cubicBezTo>
                <a:cubicBezTo>
                  <a:pt x="1567290" y="42681"/>
                  <a:pt x="1568478" y="42730"/>
                  <a:pt x="1569422" y="42828"/>
                </a:cubicBezTo>
                <a:cubicBezTo>
                  <a:pt x="1570367" y="42925"/>
                  <a:pt x="1571099" y="43121"/>
                  <a:pt x="1571620" y="43414"/>
                </a:cubicBezTo>
                <a:cubicBezTo>
                  <a:pt x="1572141" y="43707"/>
                  <a:pt x="1572515" y="44032"/>
                  <a:pt x="1572743" y="44390"/>
                </a:cubicBezTo>
                <a:cubicBezTo>
                  <a:pt x="1572971" y="44749"/>
                  <a:pt x="1573085" y="45188"/>
                  <a:pt x="1573085" y="45709"/>
                </a:cubicBezTo>
                <a:lnTo>
                  <a:pt x="1573085" y="57331"/>
                </a:lnTo>
                <a:cubicBezTo>
                  <a:pt x="1578034" y="51797"/>
                  <a:pt x="1582836" y="47744"/>
                  <a:pt x="1587491" y="45172"/>
                </a:cubicBezTo>
                <a:cubicBezTo>
                  <a:pt x="1592147" y="42600"/>
                  <a:pt x="1596851" y="41314"/>
                  <a:pt x="1601604" y="41314"/>
                </a:cubicBezTo>
                <a:close/>
                <a:moveTo>
                  <a:pt x="1492434" y="41314"/>
                </a:moveTo>
                <a:cubicBezTo>
                  <a:pt x="1499662" y="41314"/>
                  <a:pt x="1505961" y="42388"/>
                  <a:pt x="1511333" y="44537"/>
                </a:cubicBezTo>
                <a:cubicBezTo>
                  <a:pt x="1516705" y="46686"/>
                  <a:pt x="1521181" y="49811"/>
                  <a:pt x="1524762" y="53913"/>
                </a:cubicBezTo>
                <a:cubicBezTo>
                  <a:pt x="1528344" y="58015"/>
                  <a:pt x="1531029" y="62996"/>
                  <a:pt x="1532820" y="68856"/>
                </a:cubicBezTo>
                <a:cubicBezTo>
                  <a:pt x="1534611" y="74716"/>
                  <a:pt x="1535506" y="81325"/>
                  <a:pt x="1535506" y="88683"/>
                </a:cubicBezTo>
                <a:cubicBezTo>
                  <a:pt x="1535506" y="95845"/>
                  <a:pt x="1534562" y="102438"/>
                  <a:pt x="1532674" y="108461"/>
                </a:cubicBezTo>
                <a:cubicBezTo>
                  <a:pt x="1530785" y="114484"/>
                  <a:pt x="1527969" y="119676"/>
                  <a:pt x="1524225" y="124039"/>
                </a:cubicBezTo>
                <a:cubicBezTo>
                  <a:pt x="1520481" y="128402"/>
                  <a:pt x="1515793" y="131804"/>
                  <a:pt x="1510161" y="134245"/>
                </a:cubicBezTo>
                <a:cubicBezTo>
                  <a:pt x="1504529" y="136687"/>
                  <a:pt x="1498001" y="137908"/>
                  <a:pt x="1490578" y="137908"/>
                </a:cubicBezTo>
                <a:cubicBezTo>
                  <a:pt x="1483351" y="137908"/>
                  <a:pt x="1477051" y="136834"/>
                  <a:pt x="1471680" y="134685"/>
                </a:cubicBezTo>
                <a:cubicBezTo>
                  <a:pt x="1466308" y="132536"/>
                  <a:pt x="1461831" y="129411"/>
                  <a:pt x="1458250" y="125309"/>
                </a:cubicBezTo>
                <a:cubicBezTo>
                  <a:pt x="1454669" y="121207"/>
                  <a:pt x="1451999" y="116226"/>
                  <a:pt x="1450241" y="110365"/>
                </a:cubicBezTo>
                <a:cubicBezTo>
                  <a:pt x="1448483" y="104505"/>
                  <a:pt x="1447604" y="97864"/>
                  <a:pt x="1447604" y="90441"/>
                </a:cubicBezTo>
                <a:cubicBezTo>
                  <a:pt x="1447604" y="83279"/>
                  <a:pt x="1448532" y="76686"/>
                  <a:pt x="1450388" y="70663"/>
                </a:cubicBezTo>
                <a:cubicBezTo>
                  <a:pt x="1452244" y="64640"/>
                  <a:pt x="1455043" y="59448"/>
                  <a:pt x="1458787" y="55085"/>
                </a:cubicBezTo>
                <a:cubicBezTo>
                  <a:pt x="1462531" y="50723"/>
                  <a:pt x="1467203" y="47337"/>
                  <a:pt x="1472803" y="44928"/>
                </a:cubicBezTo>
                <a:cubicBezTo>
                  <a:pt x="1478402" y="42518"/>
                  <a:pt x="1484946" y="41314"/>
                  <a:pt x="1492434" y="41314"/>
                </a:cubicBezTo>
                <a:close/>
                <a:moveTo>
                  <a:pt x="1256704" y="41314"/>
                </a:moveTo>
                <a:cubicBezTo>
                  <a:pt x="1263020" y="41314"/>
                  <a:pt x="1268392" y="42030"/>
                  <a:pt x="1272820" y="43463"/>
                </a:cubicBezTo>
                <a:cubicBezTo>
                  <a:pt x="1277247" y="44895"/>
                  <a:pt x="1280828" y="46995"/>
                  <a:pt x="1283563" y="49762"/>
                </a:cubicBezTo>
                <a:cubicBezTo>
                  <a:pt x="1286298" y="52529"/>
                  <a:pt x="1288284" y="55964"/>
                  <a:pt x="1289521" y="60066"/>
                </a:cubicBezTo>
                <a:cubicBezTo>
                  <a:pt x="1290758" y="64168"/>
                  <a:pt x="1291377" y="68954"/>
                  <a:pt x="1291377" y="74423"/>
                </a:cubicBezTo>
                <a:lnTo>
                  <a:pt x="1291377" y="133708"/>
                </a:lnTo>
                <a:cubicBezTo>
                  <a:pt x="1291377" y="134490"/>
                  <a:pt x="1291116" y="135076"/>
                  <a:pt x="1290595" y="135466"/>
                </a:cubicBezTo>
                <a:cubicBezTo>
                  <a:pt x="1290074" y="135857"/>
                  <a:pt x="1289358" y="136150"/>
                  <a:pt x="1288446" y="136345"/>
                </a:cubicBezTo>
                <a:cubicBezTo>
                  <a:pt x="1287535" y="136541"/>
                  <a:pt x="1286200" y="136638"/>
                  <a:pt x="1284442" y="136638"/>
                </a:cubicBezTo>
                <a:cubicBezTo>
                  <a:pt x="1282749" y="136638"/>
                  <a:pt x="1281398" y="136541"/>
                  <a:pt x="1280389" y="136345"/>
                </a:cubicBezTo>
                <a:cubicBezTo>
                  <a:pt x="1279380" y="136150"/>
                  <a:pt x="1278647" y="135857"/>
                  <a:pt x="1278191" y="135466"/>
                </a:cubicBezTo>
                <a:cubicBezTo>
                  <a:pt x="1277736" y="135076"/>
                  <a:pt x="1277508" y="134490"/>
                  <a:pt x="1277508" y="133708"/>
                </a:cubicBezTo>
                <a:lnTo>
                  <a:pt x="1277508" y="124918"/>
                </a:lnTo>
                <a:cubicBezTo>
                  <a:pt x="1273666" y="129020"/>
                  <a:pt x="1269385" y="132211"/>
                  <a:pt x="1264664" y="134490"/>
                </a:cubicBezTo>
                <a:cubicBezTo>
                  <a:pt x="1259944" y="136768"/>
                  <a:pt x="1254946" y="137908"/>
                  <a:pt x="1249672" y="137908"/>
                </a:cubicBezTo>
                <a:cubicBezTo>
                  <a:pt x="1245049" y="137908"/>
                  <a:pt x="1240866" y="137306"/>
                  <a:pt x="1237122" y="136101"/>
                </a:cubicBezTo>
                <a:cubicBezTo>
                  <a:pt x="1233378" y="134896"/>
                  <a:pt x="1230187" y="133155"/>
                  <a:pt x="1227550" y="130876"/>
                </a:cubicBezTo>
                <a:cubicBezTo>
                  <a:pt x="1224913" y="128597"/>
                  <a:pt x="1222862" y="125797"/>
                  <a:pt x="1221397" y="122476"/>
                </a:cubicBezTo>
                <a:cubicBezTo>
                  <a:pt x="1219932" y="119156"/>
                  <a:pt x="1219200" y="115379"/>
                  <a:pt x="1219200" y="111147"/>
                </a:cubicBezTo>
                <a:cubicBezTo>
                  <a:pt x="1219200" y="106198"/>
                  <a:pt x="1220209" y="101901"/>
                  <a:pt x="1222227" y="98255"/>
                </a:cubicBezTo>
                <a:cubicBezTo>
                  <a:pt x="1224246" y="94608"/>
                  <a:pt x="1227143" y="91581"/>
                  <a:pt x="1230920" y="89171"/>
                </a:cubicBezTo>
                <a:cubicBezTo>
                  <a:pt x="1234696" y="86762"/>
                  <a:pt x="1239319" y="84955"/>
                  <a:pt x="1244789" y="83751"/>
                </a:cubicBezTo>
                <a:cubicBezTo>
                  <a:pt x="1250258" y="82546"/>
                  <a:pt x="1256411" y="81944"/>
                  <a:pt x="1263248" y="81944"/>
                </a:cubicBezTo>
                <a:lnTo>
                  <a:pt x="1275359" y="81944"/>
                </a:lnTo>
                <a:lnTo>
                  <a:pt x="1275359" y="75107"/>
                </a:lnTo>
                <a:cubicBezTo>
                  <a:pt x="1275359" y="71721"/>
                  <a:pt x="1275001" y="68726"/>
                  <a:pt x="1274285" y="66122"/>
                </a:cubicBezTo>
                <a:cubicBezTo>
                  <a:pt x="1273568" y="63517"/>
                  <a:pt x="1272413" y="61352"/>
                  <a:pt x="1270817" y="59627"/>
                </a:cubicBezTo>
                <a:cubicBezTo>
                  <a:pt x="1269222" y="57901"/>
                  <a:pt x="1267155" y="56599"/>
                  <a:pt x="1264615" y="55720"/>
                </a:cubicBezTo>
                <a:cubicBezTo>
                  <a:pt x="1262076" y="54841"/>
                  <a:pt x="1258951" y="54401"/>
                  <a:pt x="1255239" y="54401"/>
                </a:cubicBezTo>
                <a:cubicBezTo>
                  <a:pt x="1251267" y="54401"/>
                  <a:pt x="1247702" y="54873"/>
                  <a:pt x="1244545" y="55818"/>
                </a:cubicBezTo>
                <a:cubicBezTo>
                  <a:pt x="1241387" y="56762"/>
                  <a:pt x="1238619" y="57804"/>
                  <a:pt x="1236243" y="58943"/>
                </a:cubicBezTo>
                <a:cubicBezTo>
                  <a:pt x="1233866" y="60082"/>
                  <a:pt x="1231880" y="61124"/>
                  <a:pt x="1230285" y="62068"/>
                </a:cubicBezTo>
                <a:cubicBezTo>
                  <a:pt x="1228690" y="63013"/>
                  <a:pt x="1227502" y="63485"/>
                  <a:pt x="1226720" y="63485"/>
                </a:cubicBezTo>
                <a:cubicBezTo>
                  <a:pt x="1226199" y="63485"/>
                  <a:pt x="1225743" y="63354"/>
                  <a:pt x="1225353" y="63094"/>
                </a:cubicBezTo>
                <a:cubicBezTo>
                  <a:pt x="1224962" y="62833"/>
                  <a:pt x="1224620" y="62443"/>
                  <a:pt x="1224327" y="61922"/>
                </a:cubicBezTo>
                <a:cubicBezTo>
                  <a:pt x="1224034" y="61401"/>
                  <a:pt x="1223823" y="60734"/>
                  <a:pt x="1223692" y="59920"/>
                </a:cubicBezTo>
                <a:cubicBezTo>
                  <a:pt x="1223562" y="59106"/>
                  <a:pt x="1223497" y="58210"/>
                  <a:pt x="1223497" y="57234"/>
                </a:cubicBezTo>
                <a:cubicBezTo>
                  <a:pt x="1223497" y="55606"/>
                  <a:pt x="1223611" y="54320"/>
                  <a:pt x="1223839" y="53376"/>
                </a:cubicBezTo>
                <a:cubicBezTo>
                  <a:pt x="1224067" y="52432"/>
                  <a:pt x="1224620" y="51536"/>
                  <a:pt x="1225499" y="50690"/>
                </a:cubicBezTo>
                <a:cubicBezTo>
                  <a:pt x="1226378" y="49844"/>
                  <a:pt x="1227892" y="48851"/>
                  <a:pt x="1230041" y="47711"/>
                </a:cubicBezTo>
                <a:cubicBezTo>
                  <a:pt x="1232190" y="46572"/>
                  <a:pt x="1234664" y="45530"/>
                  <a:pt x="1237464" y="44586"/>
                </a:cubicBezTo>
                <a:cubicBezTo>
                  <a:pt x="1240264" y="43642"/>
                  <a:pt x="1243324" y="42860"/>
                  <a:pt x="1246644" y="42242"/>
                </a:cubicBezTo>
                <a:cubicBezTo>
                  <a:pt x="1249965" y="41623"/>
                  <a:pt x="1253318" y="41314"/>
                  <a:pt x="1256704" y="41314"/>
                </a:cubicBezTo>
                <a:close/>
                <a:moveTo>
                  <a:pt x="1106304" y="41314"/>
                </a:moveTo>
                <a:cubicBezTo>
                  <a:pt x="1109950" y="41314"/>
                  <a:pt x="1113222" y="41737"/>
                  <a:pt x="1116120" y="42584"/>
                </a:cubicBezTo>
                <a:cubicBezTo>
                  <a:pt x="1119017" y="43430"/>
                  <a:pt x="1121573" y="44618"/>
                  <a:pt x="1123787" y="46148"/>
                </a:cubicBezTo>
                <a:cubicBezTo>
                  <a:pt x="1126001" y="47679"/>
                  <a:pt x="1127889" y="49502"/>
                  <a:pt x="1129452" y="51618"/>
                </a:cubicBezTo>
                <a:cubicBezTo>
                  <a:pt x="1131014" y="53734"/>
                  <a:pt x="1132316" y="56094"/>
                  <a:pt x="1133358" y="58699"/>
                </a:cubicBezTo>
                <a:cubicBezTo>
                  <a:pt x="1136288" y="55508"/>
                  <a:pt x="1139072" y="52806"/>
                  <a:pt x="1141709" y="50592"/>
                </a:cubicBezTo>
                <a:cubicBezTo>
                  <a:pt x="1144346" y="48379"/>
                  <a:pt x="1146885" y="46588"/>
                  <a:pt x="1149327" y="45221"/>
                </a:cubicBezTo>
                <a:cubicBezTo>
                  <a:pt x="1151769" y="43853"/>
                  <a:pt x="1154146" y="42860"/>
                  <a:pt x="1156457" y="42242"/>
                </a:cubicBezTo>
                <a:cubicBezTo>
                  <a:pt x="1158768" y="41623"/>
                  <a:pt x="1161096" y="41314"/>
                  <a:pt x="1163440" y="41314"/>
                </a:cubicBezTo>
                <a:cubicBezTo>
                  <a:pt x="1169105" y="41314"/>
                  <a:pt x="1173858" y="42307"/>
                  <a:pt x="1177700" y="44293"/>
                </a:cubicBezTo>
                <a:cubicBezTo>
                  <a:pt x="1181542" y="46279"/>
                  <a:pt x="1184651" y="48932"/>
                  <a:pt x="1187027" y="52253"/>
                </a:cubicBezTo>
                <a:cubicBezTo>
                  <a:pt x="1189404" y="55573"/>
                  <a:pt x="1191097" y="59464"/>
                  <a:pt x="1192106" y="63924"/>
                </a:cubicBezTo>
                <a:cubicBezTo>
                  <a:pt x="1193115" y="68384"/>
                  <a:pt x="1193620" y="73089"/>
                  <a:pt x="1193620" y="78037"/>
                </a:cubicBezTo>
                <a:lnTo>
                  <a:pt x="1193620" y="133611"/>
                </a:lnTo>
                <a:cubicBezTo>
                  <a:pt x="1193620" y="134131"/>
                  <a:pt x="1193490" y="134571"/>
                  <a:pt x="1193229" y="134929"/>
                </a:cubicBezTo>
                <a:cubicBezTo>
                  <a:pt x="1192969" y="135287"/>
                  <a:pt x="1192545" y="135596"/>
                  <a:pt x="1191959" y="135857"/>
                </a:cubicBezTo>
                <a:cubicBezTo>
                  <a:pt x="1191373" y="136117"/>
                  <a:pt x="1190559" y="136313"/>
                  <a:pt x="1189518" y="136443"/>
                </a:cubicBezTo>
                <a:cubicBezTo>
                  <a:pt x="1188476" y="136573"/>
                  <a:pt x="1187174" y="136638"/>
                  <a:pt x="1185611" y="136638"/>
                </a:cubicBezTo>
                <a:cubicBezTo>
                  <a:pt x="1183983" y="136638"/>
                  <a:pt x="1182648" y="136573"/>
                  <a:pt x="1181607" y="136443"/>
                </a:cubicBezTo>
                <a:cubicBezTo>
                  <a:pt x="1180565" y="136313"/>
                  <a:pt x="1179735" y="136117"/>
                  <a:pt x="1179116" y="135857"/>
                </a:cubicBezTo>
                <a:cubicBezTo>
                  <a:pt x="1178497" y="135596"/>
                  <a:pt x="1178058" y="135287"/>
                  <a:pt x="1177797" y="134929"/>
                </a:cubicBezTo>
                <a:cubicBezTo>
                  <a:pt x="1177537" y="134571"/>
                  <a:pt x="1177407" y="134131"/>
                  <a:pt x="1177407" y="133611"/>
                </a:cubicBezTo>
                <a:lnTo>
                  <a:pt x="1177407" y="80186"/>
                </a:lnTo>
                <a:cubicBezTo>
                  <a:pt x="1177407" y="76474"/>
                  <a:pt x="1177081" y="73089"/>
                  <a:pt x="1176430" y="70028"/>
                </a:cubicBezTo>
                <a:cubicBezTo>
                  <a:pt x="1175779" y="66968"/>
                  <a:pt x="1174737" y="64331"/>
                  <a:pt x="1173305" y="62117"/>
                </a:cubicBezTo>
                <a:cubicBezTo>
                  <a:pt x="1171872" y="59903"/>
                  <a:pt x="1170049" y="58210"/>
                  <a:pt x="1167835" y="57038"/>
                </a:cubicBezTo>
                <a:cubicBezTo>
                  <a:pt x="1165622" y="55866"/>
                  <a:pt x="1163017" y="55280"/>
                  <a:pt x="1160022" y="55280"/>
                </a:cubicBezTo>
                <a:cubicBezTo>
                  <a:pt x="1156310" y="55280"/>
                  <a:pt x="1152583" y="56713"/>
                  <a:pt x="1148839" y="59578"/>
                </a:cubicBezTo>
                <a:cubicBezTo>
                  <a:pt x="1145095" y="62443"/>
                  <a:pt x="1140977" y="66643"/>
                  <a:pt x="1136484" y="72177"/>
                </a:cubicBezTo>
                <a:lnTo>
                  <a:pt x="1136484" y="133611"/>
                </a:lnTo>
                <a:cubicBezTo>
                  <a:pt x="1136484" y="134131"/>
                  <a:pt x="1136353" y="134571"/>
                  <a:pt x="1136093" y="134929"/>
                </a:cubicBezTo>
                <a:cubicBezTo>
                  <a:pt x="1135833" y="135287"/>
                  <a:pt x="1135393" y="135596"/>
                  <a:pt x="1134774" y="135857"/>
                </a:cubicBezTo>
                <a:cubicBezTo>
                  <a:pt x="1134156" y="136117"/>
                  <a:pt x="1133326" y="136313"/>
                  <a:pt x="1132284" y="136443"/>
                </a:cubicBezTo>
                <a:cubicBezTo>
                  <a:pt x="1131242" y="136573"/>
                  <a:pt x="1129940" y="136638"/>
                  <a:pt x="1128377" y="136638"/>
                </a:cubicBezTo>
                <a:cubicBezTo>
                  <a:pt x="1126880" y="136638"/>
                  <a:pt x="1125594" y="136573"/>
                  <a:pt x="1124519" y="136443"/>
                </a:cubicBezTo>
                <a:cubicBezTo>
                  <a:pt x="1123445" y="136313"/>
                  <a:pt x="1122599" y="136117"/>
                  <a:pt x="1121980" y="135857"/>
                </a:cubicBezTo>
                <a:cubicBezTo>
                  <a:pt x="1121361" y="135596"/>
                  <a:pt x="1120938" y="135287"/>
                  <a:pt x="1120710" y="134929"/>
                </a:cubicBezTo>
                <a:cubicBezTo>
                  <a:pt x="1120482" y="134571"/>
                  <a:pt x="1120369" y="134131"/>
                  <a:pt x="1120369" y="133611"/>
                </a:cubicBezTo>
                <a:lnTo>
                  <a:pt x="1120369" y="80186"/>
                </a:lnTo>
                <a:cubicBezTo>
                  <a:pt x="1120369" y="76474"/>
                  <a:pt x="1120010" y="73089"/>
                  <a:pt x="1119294" y="70028"/>
                </a:cubicBezTo>
                <a:cubicBezTo>
                  <a:pt x="1118578" y="66968"/>
                  <a:pt x="1117504" y="64331"/>
                  <a:pt x="1116071" y="62117"/>
                </a:cubicBezTo>
                <a:cubicBezTo>
                  <a:pt x="1114639" y="59903"/>
                  <a:pt x="1112832" y="58210"/>
                  <a:pt x="1110650" y="57038"/>
                </a:cubicBezTo>
                <a:cubicBezTo>
                  <a:pt x="1108469" y="55866"/>
                  <a:pt x="1105881" y="55280"/>
                  <a:pt x="1102886" y="55280"/>
                </a:cubicBezTo>
                <a:cubicBezTo>
                  <a:pt x="1099174" y="55280"/>
                  <a:pt x="1095430" y="56713"/>
                  <a:pt x="1091654" y="59578"/>
                </a:cubicBezTo>
                <a:cubicBezTo>
                  <a:pt x="1087877" y="62443"/>
                  <a:pt x="1083775" y="66643"/>
                  <a:pt x="1079348" y="72177"/>
                </a:cubicBezTo>
                <a:lnTo>
                  <a:pt x="1079348" y="133611"/>
                </a:lnTo>
                <a:cubicBezTo>
                  <a:pt x="1079348" y="134131"/>
                  <a:pt x="1079218" y="134571"/>
                  <a:pt x="1078957" y="134929"/>
                </a:cubicBezTo>
                <a:cubicBezTo>
                  <a:pt x="1078697" y="135287"/>
                  <a:pt x="1078273" y="135596"/>
                  <a:pt x="1077687" y="135857"/>
                </a:cubicBezTo>
                <a:cubicBezTo>
                  <a:pt x="1077101" y="136117"/>
                  <a:pt x="1076287" y="136313"/>
                  <a:pt x="1075246" y="136443"/>
                </a:cubicBezTo>
                <a:cubicBezTo>
                  <a:pt x="1074204" y="136573"/>
                  <a:pt x="1072869" y="136638"/>
                  <a:pt x="1071241" y="136638"/>
                </a:cubicBezTo>
                <a:cubicBezTo>
                  <a:pt x="1069678" y="136638"/>
                  <a:pt x="1068376" y="136573"/>
                  <a:pt x="1067335" y="136443"/>
                </a:cubicBezTo>
                <a:cubicBezTo>
                  <a:pt x="1066293" y="136313"/>
                  <a:pt x="1065462" y="136117"/>
                  <a:pt x="1064844" y="135857"/>
                </a:cubicBezTo>
                <a:cubicBezTo>
                  <a:pt x="1064225" y="135596"/>
                  <a:pt x="1063802" y="135287"/>
                  <a:pt x="1063574" y="134929"/>
                </a:cubicBezTo>
                <a:cubicBezTo>
                  <a:pt x="1063346" y="134571"/>
                  <a:pt x="1063232" y="134131"/>
                  <a:pt x="1063232" y="133611"/>
                </a:cubicBezTo>
                <a:lnTo>
                  <a:pt x="1063232" y="45709"/>
                </a:lnTo>
                <a:cubicBezTo>
                  <a:pt x="1063232" y="45188"/>
                  <a:pt x="1063330" y="44749"/>
                  <a:pt x="1063525" y="44390"/>
                </a:cubicBezTo>
                <a:cubicBezTo>
                  <a:pt x="1063721" y="44032"/>
                  <a:pt x="1064111" y="43707"/>
                  <a:pt x="1064697" y="43414"/>
                </a:cubicBezTo>
                <a:cubicBezTo>
                  <a:pt x="1065283" y="43121"/>
                  <a:pt x="1066032" y="42925"/>
                  <a:pt x="1066944" y="42828"/>
                </a:cubicBezTo>
                <a:cubicBezTo>
                  <a:pt x="1067855" y="42730"/>
                  <a:pt x="1069060" y="42681"/>
                  <a:pt x="1070557" y="42681"/>
                </a:cubicBezTo>
                <a:cubicBezTo>
                  <a:pt x="1071990" y="42681"/>
                  <a:pt x="1073178" y="42730"/>
                  <a:pt x="1074122" y="42828"/>
                </a:cubicBezTo>
                <a:cubicBezTo>
                  <a:pt x="1075066" y="42925"/>
                  <a:pt x="1075799" y="43121"/>
                  <a:pt x="1076320" y="43414"/>
                </a:cubicBezTo>
                <a:cubicBezTo>
                  <a:pt x="1076841" y="43707"/>
                  <a:pt x="1077215" y="44032"/>
                  <a:pt x="1077443" y="44390"/>
                </a:cubicBezTo>
                <a:cubicBezTo>
                  <a:pt x="1077671" y="44749"/>
                  <a:pt x="1077785" y="45188"/>
                  <a:pt x="1077785" y="45709"/>
                </a:cubicBezTo>
                <a:lnTo>
                  <a:pt x="1077785" y="57331"/>
                </a:lnTo>
                <a:cubicBezTo>
                  <a:pt x="1082734" y="51797"/>
                  <a:pt x="1087536" y="47744"/>
                  <a:pt x="1092191" y="45172"/>
                </a:cubicBezTo>
                <a:cubicBezTo>
                  <a:pt x="1096847" y="42600"/>
                  <a:pt x="1101551" y="41314"/>
                  <a:pt x="1106304" y="41314"/>
                </a:cubicBezTo>
                <a:close/>
                <a:moveTo>
                  <a:pt x="1035136" y="41314"/>
                </a:moveTo>
                <a:cubicBezTo>
                  <a:pt x="1035983" y="41314"/>
                  <a:pt x="1036943" y="41363"/>
                  <a:pt x="1038018" y="41460"/>
                </a:cubicBezTo>
                <a:cubicBezTo>
                  <a:pt x="1039092" y="41558"/>
                  <a:pt x="1040215" y="41737"/>
                  <a:pt x="1041387" y="41998"/>
                </a:cubicBezTo>
                <a:cubicBezTo>
                  <a:pt x="1042559" y="42258"/>
                  <a:pt x="1043617" y="42551"/>
                  <a:pt x="1044561" y="42877"/>
                </a:cubicBezTo>
                <a:cubicBezTo>
                  <a:pt x="1045506" y="43202"/>
                  <a:pt x="1046173" y="43528"/>
                  <a:pt x="1046564" y="43853"/>
                </a:cubicBezTo>
                <a:cubicBezTo>
                  <a:pt x="1046954" y="44179"/>
                  <a:pt x="1047215" y="44488"/>
                  <a:pt x="1047345" y="44781"/>
                </a:cubicBezTo>
                <a:cubicBezTo>
                  <a:pt x="1047475" y="45074"/>
                  <a:pt x="1047589" y="45448"/>
                  <a:pt x="1047687" y="45904"/>
                </a:cubicBezTo>
                <a:cubicBezTo>
                  <a:pt x="1047784" y="46360"/>
                  <a:pt x="1047850" y="47027"/>
                  <a:pt x="1047882" y="47906"/>
                </a:cubicBezTo>
                <a:cubicBezTo>
                  <a:pt x="1047915" y="48785"/>
                  <a:pt x="1047931" y="49974"/>
                  <a:pt x="1047931" y="51471"/>
                </a:cubicBezTo>
                <a:cubicBezTo>
                  <a:pt x="1047931" y="52904"/>
                  <a:pt x="1047899" y="54108"/>
                  <a:pt x="1047833" y="55085"/>
                </a:cubicBezTo>
                <a:cubicBezTo>
                  <a:pt x="1047768" y="56062"/>
                  <a:pt x="1047638" y="56827"/>
                  <a:pt x="1047443" y="57380"/>
                </a:cubicBezTo>
                <a:cubicBezTo>
                  <a:pt x="1047247" y="57934"/>
                  <a:pt x="1047003" y="58357"/>
                  <a:pt x="1046710" y="58650"/>
                </a:cubicBezTo>
                <a:cubicBezTo>
                  <a:pt x="1046417" y="58943"/>
                  <a:pt x="1046010" y="59090"/>
                  <a:pt x="1045489" y="59090"/>
                </a:cubicBezTo>
                <a:cubicBezTo>
                  <a:pt x="1044968" y="59090"/>
                  <a:pt x="1044333" y="58943"/>
                  <a:pt x="1043585" y="58650"/>
                </a:cubicBezTo>
                <a:cubicBezTo>
                  <a:pt x="1042836" y="58357"/>
                  <a:pt x="1041990" y="58064"/>
                  <a:pt x="1041045" y="57771"/>
                </a:cubicBezTo>
                <a:cubicBezTo>
                  <a:pt x="1040101" y="57478"/>
                  <a:pt x="1039043" y="57201"/>
                  <a:pt x="1037871" y="56941"/>
                </a:cubicBezTo>
                <a:cubicBezTo>
                  <a:pt x="1036699" y="56680"/>
                  <a:pt x="1035429" y="56550"/>
                  <a:pt x="1034062" y="56550"/>
                </a:cubicBezTo>
                <a:cubicBezTo>
                  <a:pt x="1032434" y="56550"/>
                  <a:pt x="1030839" y="56876"/>
                  <a:pt x="1029276" y="57527"/>
                </a:cubicBezTo>
                <a:cubicBezTo>
                  <a:pt x="1027714" y="58178"/>
                  <a:pt x="1026070" y="59252"/>
                  <a:pt x="1024344" y="60750"/>
                </a:cubicBezTo>
                <a:cubicBezTo>
                  <a:pt x="1022619" y="62247"/>
                  <a:pt x="1020812" y="64233"/>
                  <a:pt x="1018924" y="66708"/>
                </a:cubicBezTo>
                <a:cubicBezTo>
                  <a:pt x="1017035" y="69182"/>
                  <a:pt x="1014952" y="72210"/>
                  <a:pt x="1012673" y="75791"/>
                </a:cubicBezTo>
                <a:lnTo>
                  <a:pt x="1012673" y="133611"/>
                </a:lnTo>
                <a:cubicBezTo>
                  <a:pt x="1012673" y="134131"/>
                  <a:pt x="1012542" y="134571"/>
                  <a:pt x="1012282" y="134929"/>
                </a:cubicBezTo>
                <a:cubicBezTo>
                  <a:pt x="1012022" y="135287"/>
                  <a:pt x="1011598" y="135596"/>
                  <a:pt x="1011012" y="135857"/>
                </a:cubicBezTo>
                <a:cubicBezTo>
                  <a:pt x="1010426" y="136117"/>
                  <a:pt x="1009612" y="136313"/>
                  <a:pt x="1008571" y="136443"/>
                </a:cubicBezTo>
                <a:cubicBezTo>
                  <a:pt x="1007529" y="136573"/>
                  <a:pt x="1006194" y="136638"/>
                  <a:pt x="1004566" y="136638"/>
                </a:cubicBezTo>
                <a:cubicBezTo>
                  <a:pt x="1003003" y="136638"/>
                  <a:pt x="1001701" y="136573"/>
                  <a:pt x="1000659" y="136443"/>
                </a:cubicBezTo>
                <a:cubicBezTo>
                  <a:pt x="999618" y="136313"/>
                  <a:pt x="998788" y="136117"/>
                  <a:pt x="998169" y="135857"/>
                </a:cubicBezTo>
                <a:cubicBezTo>
                  <a:pt x="997550" y="135596"/>
                  <a:pt x="997127" y="135287"/>
                  <a:pt x="996899" y="134929"/>
                </a:cubicBezTo>
                <a:cubicBezTo>
                  <a:pt x="996671" y="134571"/>
                  <a:pt x="996557" y="134131"/>
                  <a:pt x="996557" y="133611"/>
                </a:cubicBezTo>
                <a:lnTo>
                  <a:pt x="996557" y="45709"/>
                </a:lnTo>
                <a:cubicBezTo>
                  <a:pt x="996557" y="45188"/>
                  <a:pt x="996655" y="44749"/>
                  <a:pt x="996850" y="44390"/>
                </a:cubicBezTo>
                <a:cubicBezTo>
                  <a:pt x="997046" y="44032"/>
                  <a:pt x="997436" y="43707"/>
                  <a:pt x="998022" y="43414"/>
                </a:cubicBezTo>
                <a:cubicBezTo>
                  <a:pt x="998608" y="43121"/>
                  <a:pt x="999357" y="42925"/>
                  <a:pt x="1000269" y="42828"/>
                </a:cubicBezTo>
                <a:cubicBezTo>
                  <a:pt x="1001180" y="42730"/>
                  <a:pt x="1002385" y="42681"/>
                  <a:pt x="1003883" y="42681"/>
                </a:cubicBezTo>
                <a:cubicBezTo>
                  <a:pt x="1005315" y="42681"/>
                  <a:pt x="1006503" y="42730"/>
                  <a:pt x="1007447" y="42828"/>
                </a:cubicBezTo>
                <a:cubicBezTo>
                  <a:pt x="1008392" y="42925"/>
                  <a:pt x="1009124" y="43121"/>
                  <a:pt x="1009645" y="43414"/>
                </a:cubicBezTo>
                <a:cubicBezTo>
                  <a:pt x="1010166" y="43707"/>
                  <a:pt x="1010540" y="44032"/>
                  <a:pt x="1010768" y="44390"/>
                </a:cubicBezTo>
                <a:cubicBezTo>
                  <a:pt x="1010996" y="44749"/>
                  <a:pt x="1011110" y="45188"/>
                  <a:pt x="1011110" y="45709"/>
                </a:cubicBezTo>
                <a:lnTo>
                  <a:pt x="1011110" y="58503"/>
                </a:lnTo>
                <a:cubicBezTo>
                  <a:pt x="1013519" y="54987"/>
                  <a:pt x="1015782" y="52122"/>
                  <a:pt x="1017898" y="49909"/>
                </a:cubicBezTo>
                <a:cubicBezTo>
                  <a:pt x="1020014" y="47695"/>
                  <a:pt x="1022016" y="45953"/>
                  <a:pt x="1023905" y="44683"/>
                </a:cubicBezTo>
                <a:cubicBezTo>
                  <a:pt x="1025793" y="43414"/>
                  <a:pt x="1027665" y="42535"/>
                  <a:pt x="1029521" y="42046"/>
                </a:cubicBezTo>
                <a:cubicBezTo>
                  <a:pt x="1031376" y="41558"/>
                  <a:pt x="1033248" y="41314"/>
                  <a:pt x="1035136" y="41314"/>
                </a:cubicBezTo>
                <a:close/>
                <a:moveTo>
                  <a:pt x="932854" y="41314"/>
                </a:moveTo>
                <a:cubicBezTo>
                  <a:pt x="939170" y="41314"/>
                  <a:pt x="944542" y="42030"/>
                  <a:pt x="948970" y="43463"/>
                </a:cubicBezTo>
                <a:cubicBezTo>
                  <a:pt x="953397" y="44895"/>
                  <a:pt x="956978" y="46995"/>
                  <a:pt x="959713" y="49762"/>
                </a:cubicBezTo>
                <a:cubicBezTo>
                  <a:pt x="962448" y="52529"/>
                  <a:pt x="964434" y="55964"/>
                  <a:pt x="965671" y="60066"/>
                </a:cubicBezTo>
                <a:cubicBezTo>
                  <a:pt x="966908" y="64168"/>
                  <a:pt x="967527" y="68954"/>
                  <a:pt x="967527" y="74423"/>
                </a:cubicBezTo>
                <a:lnTo>
                  <a:pt x="967527" y="133708"/>
                </a:lnTo>
                <a:cubicBezTo>
                  <a:pt x="967527" y="134490"/>
                  <a:pt x="967266" y="135076"/>
                  <a:pt x="966745" y="135466"/>
                </a:cubicBezTo>
                <a:cubicBezTo>
                  <a:pt x="966224" y="135857"/>
                  <a:pt x="965508" y="136150"/>
                  <a:pt x="964597" y="136345"/>
                </a:cubicBezTo>
                <a:cubicBezTo>
                  <a:pt x="963685" y="136541"/>
                  <a:pt x="962350" y="136638"/>
                  <a:pt x="960592" y="136638"/>
                </a:cubicBezTo>
                <a:cubicBezTo>
                  <a:pt x="958899" y="136638"/>
                  <a:pt x="957548" y="136541"/>
                  <a:pt x="956539" y="136345"/>
                </a:cubicBezTo>
                <a:cubicBezTo>
                  <a:pt x="955530" y="136150"/>
                  <a:pt x="954797" y="135857"/>
                  <a:pt x="954341" y="135466"/>
                </a:cubicBezTo>
                <a:cubicBezTo>
                  <a:pt x="953886" y="135076"/>
                  <a:pt x="953658" y="134490"/>
                  <a:pt x="953658" y="133708"/>
                </a:cubicBezTo>
                <a:lnTo>
                  <a:pt x="953658" y="124918"/>
                </a:lnTo>
                <a:cubicBezTo>
                  <a:pt x="949816" y="129020"/>
                  <a:pt x="945535" y="132211"/>
                  <a:pt x="940814" y="134490"/>
                </a:cubicBezTo>
                <a:cubicBezTo>
                  <a:pt x="936094" y="136768"/>
                  <a:pt x="931096" y="137908"/>
                  <a:pt x="925822" y="137908"/>
                </a:cubicBezTo>
                <a:cubicBezTo>
                  <a:pt x="921199" y="137908"/>
                  <a:pt x="917016" y="137306"/>
                  <a:pt x="913272" y="136101"/>
                </a:cubicBezTo>
                <a:cubicBezTo>
                  <a:pt x="909528" y="134896"/>
                  <a:pt x="906337" y="133155"/>
                  <a:pt x="903700" y="130876"/>
                </a:cubicBezTo>
                <a:cubicBezTo>
                  <a:pt x="901063" y="128597"/>
                  <a:pt x="899012" y="125797"/>
                  <a:pt x="897547" y="122476"/>
                </a:cubicBezTo>
                <a:cubicBezTo>
                  <a:pt x="896082" y="119156"/>
                  <a:pt x="895350" y="115379"/>
                  <a:pt x="895350" y="111147"/>
                </a:cubicBezTo>
                <a:cubicBezTo>
                  <a:pt x="895350" y="106198"/>
                  <a:pt x="896359" y="101901"/>
                  <a:pt x="898377" y="98255"/>
                </a:cubicBezTo>
                <a:cubicBezTo>
                  <a:pt x="900396" y="94608"/>
                  <a:pt x="903293" y="91581"/>
                  <a:pt x="907070" y="89171"/>
                </a:cubicBezTo>
                <a:cubicBezTo>
                  <a:pt x="910846" y="86762"/>
                  <a:pt x="915469" y="84955"/>
                  <a:pt x="920939" y="83751"/>
                </a:cubicBezTo>
                <a:cubicBezTo>
                  <a:pt x="926408" y="82546"/>
                  <a:pt x="932561" y="81944"/>
                  <a:pt x="939398" y="81944"/>
                </a:cubicBezTo>
                <a:lnTo>
                  <a:pt x="951509" y="81944"/>
                </a:lnTo>
                <a:lnTo>
                  <a:pt x="951509" y="75107"/>
                </a:lnTo>
                <a:cubicBezTo>
                  <a:pt x="951509" y="71721"/>
                  <a:pt x="951151" y="68726"/>
                  <a:pt x="950435" y="66122"/>
                </a:cubicBezTo>
                <a:cubicBezTo>
                  <a:pt x="949719" y="63517"/>
                  <a:pt x="948563" y="61352"/>
                  <a:pt x="946967" y="59627"/>
                </a:cubicBezTo>
                <a:cubicBezTo>
                  <a:pt x="945372" y="57901"/>
                  <a:pt x="943305" y="56599"/>
                  <a:pt x="940765" y="55720"/>
                </a:cubicBezTo>
                <a:cubicBezTo>
                  <a:pt x="938226" y="54841"/>
                  <a:pt x="935101" y="54401"/>
                  <a:pt x="931389" y="54401"/>
                </a:cubicBezTo>
                <a:cubicBezTo>
                  <a:pt x="927417" y="54401"/>
                  <a:pt x="923853" y="54873"/>
                  <a:pt x="920695" y="55818"/>
                </a:cubicBezTo>
                <a:cubicBezTo>
                  <a:pt x="917537" y="56762"/>
                  <a:pt x="914769" y="57804"/>
                  <a:pt x="912393" y="58943"/>
                </a:cubicBezTo>
                <a:cubicBezTo>
                  <a:pt x="910016" y="60082"/>
                  <a:pt x="908030" y="61124"/>
                  <a:pt x="906435" y="62068"/>
                </a:cubicBezTo>
                <a:cubicBezTo>
                  <a:pt x="904840" y="63013"/>
                  <a:pt x="903651" y="63485"/>
                  <a:pt x="902870" y="63485"/>
                </a:cubicBezTo>
                <a:cubicBezTo>
                  <a:pt x="902349" y="63485"/>
                  <a:pt x="901893" y="63354"/>
                  <a:pt x="901503" y="63094"/>
                </a:cubicBezTo>
                <a:cubicBezTo>
                  <a:pt x="901112" y="62833"/>
                  <a:pt x="900770" y="62443"/>
                  <a:pt x="900477" y="61922"/>
                </a:cubicBezTo>
                <a:cubicBezTo>
                  <a:pt x="900184" y="61401"/>
                  <a:pt x="899973" y="60734"/>
                  <a:pt x="899842" y="59920"/>
                </a:cubicBezTo>
                <a:cubicBezTo>
                  <a:pt x="899712" y="59106"/>
                  <a:pt x="899647" y="58210"/>
                  <a:pt x="899647" y="57234"/>
                </a:cubicBezTo>
                <a:cubicBezTo>
                  <a:pt x="899647" y="55606"/>
                  <a:pt x="899761" y="54320"/>
                  <a:pt x="899989" y="53376"/>
                </a:cubicBezTo>
                <a:cubicBezTo>
                  <a:pt x="900217" y="52432"/>
                  <a:pt x="900770" y="51536"/>
                  <a:pt x="901649" y="50690"/>
                </a:cubicBezTo>
                <a:cubicBezTo>
                  <a:pt x="902528" y="49844"/>
                  <a:pt x="904042" y="48851"/>
                  <a:pt x="906191" y="47711"/>
                </a:cubicBezTo>
                <a:cubicBezTo>
                  <a:pt x="908339" y="46572"/>
                  <a:pt x="910814" y="45530"/>
                  <a:pt x="913614" y="44586"/>
                </a:cubicBezTo>
                <a:cubicBezTo>
                  <a:pt x="916413" y="43642"/>
                  <a:pt x="919474" y="42860"/>
                  <a:pt x="922794" y="42242"/>
                </a:cubicBezTo>
                <a:cubicBezTo>
                  <a:pt x="926115" y="41623"/>
                  <a:pt x="929468" y="41314"/>
                  <a:pt x="932854" y="41314"/>
                </a:cubicBezTo>
                <a:close/>
                <a:moveTo>
                  <a:pt x="737173" y="41314"/>
                </a:moveTo>
                <a:cubicBezTo>
                  <a:pt x="743554" y="41314"/>
                  <a:pt x="748991" y="42551"/>
                  <a:pt x="753484" y="45025"/>
                </a:cubicBezTo>
                <a:cubicBezTo>
                  <a:pt x="757977" y="47500"/>
                  <a:pt x="761639" y="50885"/>
                  <a:pt x="764472" y="55183"/>
                </a:cubicBezTo>
                <a:cubicBezTo>
                  <a:pt x="767304" y="59480"/>
                  <a:pt x="769371" y="64478"/>
                  <a:pt x="770673" y="70175"/>
                </a:cubicBezTo>
                <a:cubicBezTo>
                  <a:pt x="771976" y="75872"/>
                  <a:pt x="772627" y="81911"/>
                  <a:pt x="772627" y="88292"/>
                </a:cubicBezTo>
                <a:cubicBezTo>
                  <a:pt x="772627" y="95976"/>
                  <a:pt x="771797" y="102878"/>
                  <a:pt x="770136" y="108998"/>
                </a:cubicBezTo>
                <a:cubicBezTo>
                  <a:pt x="768476" y="115119"/>
                  <a:pt x="766034" y="120311"/>
                  <a:pt x="762811" y="124576"/>
                </a:cubicBezTo>
                <a:cubicBezTo>
                  <a:pt x="759588" y="128841"/>
                  <a:pt x="755600" y="132129"/>
                  <a:pt x="750847" y="134441"/>
                </a:cubicBezTo>
                <a:cubicBezTo>
                  <a:pt x="746094" y="136752"/>
                  <a:pt x="740657" y="137908"/>
                  <a:pt x="734536" y="137908"/>
                </a:cubicBezTo>
                <a:cubicBezTo>
                  <a:pt x="731932" y="137908"/>
                  <a:pt x="729523" y="137647"/>
                  <a:pt x="727309" y="137127"/>
                </a:cubicBezTo>
                <a:cubicBezTo>
                  <a:pt x="725095" y="136606"/>
                  <a:pt x="722930" y="135792"/>
                  <a:pt x="720814" y="134685"/>
                </a:cubicBezTo>
                <a:cubicBezTo>
                  <a:pt x="718698" y="133578"/>
                  <a:pt x="716598" y="132178"/>
                  <a:pt x="714514" y="130485"/>
                </a:cubicBezTo>
                <a:cubicBezTo>
                  <a:pt x="712431" y="128792"/>
                  <a:pt x="710217" y="126806"/>
                  <a:pt x="707873" y="124527"/>
                </a:cubicBezTo>
                <a:lnTo>
                  <a:pt x="707873" y="168478"/>
                </a:lnTo>
                <a:cubicBezTo>
                  <a:pt x="707873" y="168999"/>
                  <a:pt x="707742" y="169455"/>
                  <a:pt x="707482" y="169846"/>
                </a:cubicBezTo>
                <a:cubicBezTo>
                  <a:pt x="707222" y="170236"/>
                  <a:pt x="706798" y="170562"/>
                  <a:pt x="706212" y="170822"/>
                </a:cubicBezTo>
                <a:cubicBezTo>
                  <a:pt x="705626" y="171083"/>
                  <a:pt x="704812" y="171278"/>
                  <a:pt x="703771" y="171408"/>
                </a:cubicBezTo>
                <a:cubicBezTo>
                  <a:pt x="702729" y="171538"/>
                  <a:pt x="701394" y="171604"/>
                  <a:pt x="699766" y="171604"/>
                </a:cubicBezTo>
                <a:cubicBezTo>
                  <a:pt x="698204" y="171604"/>
                  <a:pt x="696901" y="171538"/>
                  <a:pt x="695859" y="171408"/>
                </a:cubicBezTo>
                <a:cubicBezTo>
                  <a:pt x="694818" y="171278"/>
                  <a:pt x="693988" y="171083"/>
                  <a:pt x="693369" y="170822"/>
                </a:cubicBezTo>
                <a:cubicBezTo>
                  <a:pt x="692750" y="170562"/>
                  <a:pt x="692327" y="170236"/>
                  <a:pt x="692099" y="169846"/>
                </a:cubicBezTo>
                <a:cubicBezTo>
                  <a:pt x="691871" y="169455"/>
                  <a:pt x="691757" y="168999"/>
                  <a:pt x="691757" y="168478"/>
                </a:cubicBezTo>
                <a:lnTo>
                  <a:pt x="691757" y="45709"/>
                </a:lnTo>
                <a:cubicBezTo>
                  <a:pt x="691757" y="45123"/>
                  <a:pt x="691855" y="44651"/>
                  <a:pt x="692050" y="44293"/>
                </a:cubicBezTo>
                <a:cubicBezTo>
                  <a:pt x="692246" y="43935"/>
                  <a:pt x="692636" y="43625"/>
                  <a:pt x="693222" y="43365"/>
                </a:cubicBezTo>
                <a:cubicBezTo>
                  <a:pt x="693808" y="43104"/>
                  <a:pt x="694557" y="42925"/>
                  <a:pt x="695469" y="42828"/>
                </a:cubicBezTo>
                <a:cubicBezTo>
                  <a:pt x="696380" y="42730"/>
                  <a:pt x="697487" y="42681"/>
                  <a:pt x="698789" y="42681"/>
                </a:cubicBezTo>
                <a:cubicBezTo>
                  <a:pt x="700157" y="42681"/>
                  <a:pt x="701280" y="42730"/>
                  <a:pt x="702159" y="42828"/>
                </a:cubicBezTo>
                <a:cubicBezTo>
                  <a:pt x="703038" y="42925"/>
                  <a:pt x="703771" y="43104"/>
                  <a:pt x="704357" y="43365"/>
                </a:cubicBezTo>
                <a:cubicBezTo>
                  <a:pt x="704943" y="43625"/>
                  <a:pt x="705350" y="43935"/>
                  <a:pt x="705578" y="44293"/>
                </a:cubicBezTo>
                <a:cubicBezTo>
                  <a:pt x="705805" y="44651"/>
                  <a:pt x="705919" y="45123"/>
                  <a:pt x="705919" y="45709"/>
                </a:cubicBezTo>
                <a:lnTo>
                  <a:pt x="705919" y="57527"/>
                </a:lnTo>
                <a:cubicBezTo>
                  <a:pt x="708589" y="54792"/>
                  <a:pt x="711161" y="52415"/>
                  <a:pt x="713635" y="50397"/>
                </a:cubicBezTo>
                <a:cubicBezTo>
                  <a:pt x="716109" y="48379"/>
                  <a:pt x="718600" y="46702"/>
                  <a:pt x="721107" y="45367"/>
                </a:cubicBezTo>
                <a:cubicBezTo>
                  <a:pt x="723614" y="44032"/>
                  <a:pt x="726186" y="43023"/>
                  <a:pt x="728823" y="42339"/>
                </a:cubicBezTo>
                <a:cubicBezTo>
                  <a:pt x="731460" y="41656"/>
                  <a:pt x="734243" y="41314"/>
                  <a:pt x="737173" y="41314"/>
                </a:cubicBezTo>
                <a:close/>
                <a:moveTo>
                  <a:pt x="642709" y="41314"/>
                </a:moveTo>
                <a:cubicBezTo>
                  <a:pt x="645053" y="41314"/>
                  <a:pt x="647397" y="41509"/>
                  <a:pt x="649741" y="41900"/>
                </a:cubicBezTo>
                <a:cubicBezTo>
                  <a:pt x="652085" y="42291"/>
                  <a:pt x="654202" y="42779"/>
                  <a:pt x="656090" y="43365"/>
                </a:cubicBezTo>
                <a:cubicBezTo>
                  <a:pt x="657978" y="43951"/>
                  <a:pt x="659590" y="44586"/>
                  <a:pt x="660924" y="45269"/>
                </a:cubicBezTo>
                <a:cubicBezTo>
                  <a:pt x="662259" y="45953"/>
                  <a:pt x="663268" y="46555"/>
                  <a:pt x="663952" y="47076"/>
                </a:cubicBezTo>
                <a:cubicBezTo>
                  <a:pt x="664636" y="47597"/>
                  <a:pt x="665092" y="48053"/>
                  <a:pt x="665320" y="48444"/>
                </a:cubicBezTo>
                <a:cubicBezTo>
                  <a:pt x="665547" y="48834"/>
                  <a:pt x="665710" y="49274"/>
                  <a:pt x="665808" y="49762"/>
                </a:cubicBezTo>
                <a:cubicBezTo>
                  <a:pt x="665906" y="50251"/>
                  <a:pt x="666003" y="50853"/>
                  <a:pt x="666101" y="51569"/>
                </a:cubicBezTo>
                <a:cubicBezTo>
                  <a:pt x="666199" y="52285"/>
                  <a:pt x="666247" y="53164"/>
                  <a:pt x="666247" y="54206"/>
                </a:cubicBezTo>
                <a:cubicBezTo>
                  <a:pt x="666247" y="55313"/>
                  <a:pt x="666199" y="56273"/>
                  <a:pt x="666101" y="57087"/>
                </a:cubicBezTo>
                <a:cubicBezTo>
                  <a:pt x="666003" y="57901"/>
                  <a:pt x="665840" y="58569"/>
                  <a:pt x="665612" y="59090"/>
                </a:cubicBezTo>
                <a:cubicBezTo>
                  <a:pt x="665385" y="59610"/>
                  <a:pt x="665108" y="59985"/>
                  <a:pt x="664782" y="60213"/>
                </a:cubicBezTo>
                <a:cubicBezTo>
                  <a:pt x="664457" y="60441"/>
                  <a:pt x="664099" y="60555"/>
                  <a:pt x="663708" y="60555"/>
                </a:cubicBezTo>
                <a:cubicBezTo>
                  <a:pt x="663122" y="60555"/>
                  <a:pt x="662275" y="60196"/>
                  <a:pt x="661169" y="59480"/>
                </a:cubicBezTo>
                <a:cubicBezTo>
                  <a:pt x="660062" y="58764"/>
                  <a:pt x="658629" y="57999"/>
                  <a:pt x="656871" y="57185"/>
                </a:cubicBezTo>
                <a:cubicBezTo>
                  <a:pt x="655113" y="56371"/>
                  <a:pt x="653046" y="55606"/>
                  <a:pt x="650669" y="54890"/>
                </a:cubicBezTo>
                <a:cubicBezTo>
                  <a:pt x="648293" y="54174"/>
                  <a:pt x="645574" y="53815"/>
                  <a:pt x="642514" y="53815"/>
                </a:cubicBezTo>
                <a:cubicBezTo>
                  <a:pt x="639779" y="53815"/>
                  <a:pt x="637370" y="54125"/>
                  <a:pt x="635286" y="54743"/>
                </a:cubicBezTo>
                <a:cubicBezTo>
                  <a:pt x="633203" y="55362"/>
                  <a:pt x="631494" y="56241"/>
                  <a:pt x="630159" y="57380"/>
                </a:cubicBezTo>
                <a:cubicBezTo>
                  <a:pt x="628824" y="58520"/>
                  <a:pt x="627815" y="59871"/>
                  <a:pt x="627131" y="61434"/>
                </a:cubicBezTo>
                <a:cubicBezTo>
                  <a:pt x="626447" y="62996"/>
                  <a:pt x="626106" y="64689"/>
                  <a:pt x="626106" y="66512"/>
                </a:cubicBezTo>
                <a:cubicBezTo>
                  <a:pt x="626106" y="69052"/>
                  <a:pt x="626757" y="71184"/>
                  <a:pt x="628059" y="72910"/>
                </a:cubicBezTo>
                <a:cubicBezTo>
                  <a:pt x="629361" y="74635"/>
                  <a:pt x="631054" y="76149"/>
                  <a:pt x="633138" y="77451"/>
                </a:cubicBezTo>
                <a:cubicBezTo>
                  <a:pt x="635221" y="78753"/>
                  <a:pt x="637598" y="79925"/>
                  <a:pt x="640267" y="80967"/>
                </a:cubicBezTo>
                <a:cubicBezTo>
                  <a:pt x="642937" y="82009"/>
                  <a:pt x="645656" y="83083"/>
                  <a:pt x="648423" y="84190"/>
                </a:cubicBezTo>
                <a:cubicBezTo>
                  <a:pt x="651190" y="85297"/>
                  <a:pt x="653925" y="86534"/>
                  <a:pt x="656627" y="87902"/>
                </a:cubicBezTo>
                <a:cubicBezTo>
                  <a:pt x="659329" y="89269"/>
                  <a:pt x="661722" y="90929"/>
                  <a:pt x="663806" y="92883"/>
                </a:cubicBezTo>
                <a:cubicBezTo>
                  <a:pt x="665889" y="94836"/>
                  <a:pt x="667566" y="97180"/>
                  <a:pt x="668836" y="99915"/>
                </a:cubicBezTo>
                <a:cubicBezTo>
                  <a:pt x="670105" y="102650"/>
                  <a:pt x="670740" y="105905"/>
                  <a:pt x="670740" y="109682"/>
                </a:cubicBezTo>
                <a:cubicBezTo>
                  <a:pt x="670740" y="114175"/>
                  <a:pt x="669910" y="118179"/>
                  <a:pt x="668250" y="121695"/>
                </a:cubicBezTo>
                <a:cubicBezTo>
                  <a:pt x="666589" y="125211"/>
                  <a:pt x="664229" y="128174"/>
                  <a:pt x="661169" y="130583"/>
                </a:cubicBezTo>
                <a:cubicBezTo>
                  <a:pt x="658108" y="132992"/>
                  <a:pt x="654462" y="134815"/>
                  <a:pt x="650230" y="136052"/>
                </a:cubicBezTo>
                <a:cubicBezTo>
                  <a:pt x="645997" y="137289"/>
                  <a:pt x="641342" y="137908"/>
                  <a:pt x="636263" y="137908"/>
                </a:cubicBezTo>
                <a:cubicBezTo>
                  <a:pt x="633138" y="137908"/>
                  <a:pt x="630159" y="137664"/>
                  <a:pt x="627326" y="137175"/>
                </a:cubicBezTo>
                <a:cubicBezTo>
                  <a:pt x="624494" y="136687"/>
                  <a:pt x="621955" y="136069"/>
                  <a:pt x="619708" y="135320"/>
                </a:cubicBezTo>
                <a:cubicBezTo>
                  <a:pt x="617462" y="134571"/>
                  <a:pt x="615557" y="133790"/>
                  <a:pt x="613995" y="132976"/>
                </a:cubicBezTo>
                <a:cubicBezTo>
                  <a:pt x="612432" y="132162"/>
                  <a:pt x="611293" y="131429"/>
                  <a:pt x="610576" y="130778"/>
                </a:cubicBezTo>
                <a:cubicBezTo>
                  <a:pt x="609860" y="130127"/>
                  <a:pt x="609339" y="129215"/>
                  <a:pt x="609014" y="128043"/>
                </a:cubicBezTo>
                <a:cubicBezTo>
                  <a:pt x="608688" y="126871"/>
                  <a:pt x="608525" y="125276"/>
                  <a:pt x="608525" y="123258"/>
                </a:cubicBezTo>
                <a:cubicBezTo>
                  <a:pt x="608525" y="122021"/>
                  <a:pt x="608590" y="120979"/>
                  <a:pt x="608721" y="120132"/>
                </a:cubicBezTo>
                <a:cubicBezTo>
                  <a:pt x="608851" y="119286"/>
                  <a:pt x="609014" y="118602"/>
                  <a:pt x="609209" y="118081"/>
                </a:cubicBezTo>
                <a:cubicBezTo>
                  <a:pt x="609404" y="117560"/>
                  <a:pt x="609681" y="117186"/>
                  <a:pt x="610039" y="116958"/>
                </a:cubicBezTo>
                <a:cubicBezTo>
                  <a:pt x="610397" y="116730"/>
                  <a:pt x="610804" y="116616"/>
                  <a:pt x="611260" y="116616"/>
                </a:cubicBezTo>
                <a:cubicBezTo>
                  <a:pt x="611976" y="116616"/>
                  <a:pt x="613034" y="117056"/>
                  <a:pt x="614434" y="117935"/>
                </a:cubicBezTo>
                <a:cubicBezTo>
                  <a:pt x="615834" y="118814"/>
                  <a:pt x="617560" y="119774"/>
                  <a:pt x="619611" y="120816"/>
                </a:cubicBezTo>
                <a:cubicBezTo>
                  <a:pt x="621662" y="121858"/>
                  <a:pt x="624087" y="122818"/>
                  <a:pt x="626887" y="123697"/>
                </a:cubicBezTo>
                <a:cubicBezTo>
                  <a:pt x="629687" y="124576"/>
                  <a:pt x="632910" y="125016"/>
                  <a:pt x="636556" y="125016"/>
                </a:cubicBezTo>
                <a:cubicBezTo>
                  <a:pt x="639291" y="125016"/>
                  <a:pt x="641765" y="124723"/>
                  <a:pt x="643979" y="124137"/>
                </a:cubicBezTo>
                <a:cubicBezTo>
                  <a:pt x="646193" y="123551"/>
                  <a:pt x="648114" y="122688"/>
                  <a:pt x="649741" y="121548"/>
                </a:cubicBezTo>
                <a:cubicBezTo>
                  <a:pt x="651369" y="120409"/>
                  <a:pt x="652623" y="118960"/>
                  <a:pt x="653502" y="117202"/>
                </a:cubicBezTo>
                <a:cubicBezTo>
                  <a:pt x="654381" y="115444"/>
                  <a:pt x="654820" y="113361"/>
                  <a:pt x="654820" y="110951"/>
                </a:cubicBezTo>
                <a:cubicBezTo>
                  <a:pt x="654820" y="108477"/>
                  <a:pt x="654185" y="106394"/>
                  <a:pt x="652916" y="104701"/>
                </a:cubicBezTo>
                <a:cubicBezTo>
                  <a:pt x="651646" y="103008"/>
                  <a:pt x="649969" y="101510"/>
                  <a:pt x="647886" y="100208"/>
                </a:cubicBezTo>
                <a:cubicBezTo>
                  <a:pt x="645802" y="98906"/>
                  <a:pt x="643458" y="97750"/>
                  <a:pt x="640854" y="96741"/>
                </a:cubicBezTo>
                <a:cubicBezTo>
                  <a:pt x="638249" y="95731"/>
                  <a:pt x="635563" y="94673"/>
                  <a:pt x="632796" y="93566"/>
                </a:cubicBezTo>
                <a:cubicBezTo>
                  <a:pt x="630029" y="92460"/>
                  <a:pt x="627326" y="91206"/>
                  <a:pt x="624689" y="89806"/>
                </a:cubicBezTo>
                <a:cubicBezTo>
                  <a:pt x="622052" y="88406"/>
                  <a:pt x="619692" y="86697"/>
                  <a:pt x="617608" y="84679"/>
                </a:cubicBezTo>
                <a:cubicBezTo>
                  <a:pt x="615525" y="82660"/>
                  <a:pt x="613848" y="80251"/>
                  <a:pt x="612578" y="77451"/>
                </a:cubicBezTo>
                <a:cubicBezTo>
                  <a:pt x="611309" y="74651"/>
                  <a:pt x="610674" y="71298"/>
                  <a:pt x="610674" y="67391"/>
                </a:cubicBezTo>
                <a:cubicBezTo>
                  <a:pt x="610674" y="63940"/>
                  <a:pt x="611341" y="60636"/>
                  <a:pt x="612676" y="57478"/>
                </a:cubicBezTo>
                <a:cubicBezTo>
                  <a:pt x="614011" y="54320"/>
                  <a:pt x="616013" y="51553"/>
                  <a:pt x="618683" y="49176"/>
                </a:cubicBezTo>
                <a:cubicBezTo>
                  <a:pt x="621352" y="46800"/>
                  <a:pt x="624689" y="44895"/>
                  <a:pt x="628694" y="43463"/>
                </a:cubicBezTo>
                <a:cubicBezTo>
                  <a:pt x="632698" y="42030"/>
                  <a:pt x="637370" y="41314"/>
                  <a:pt x="642709" y="41314"/>
                </a:cubicBezTo>
                <a:close/>
                <a:moveTo>
                  <a:pt x="402626" y="41314"/>
                </a:moveTo>
                <a:cubicBezTo>
                  <a:pt x="408486" y="41314"/>
                  <a:pt x="413419" y="42307"/>
                  <a:pt x="417423" y="44293"/>
                </a:cubicBezTo>
                <a:cubicBezTo>
                  <a:pt x="421427" y="46279"/>
                  <a:pt x="424667" y="48932"/>
                  <a:pt x="427141" y="52253"/>
                </a:cubicBezTo>
                <a:cubicBezTo>
                  <a:pt x="429615" y="55573"/>
                  <a:pt x="431390" y="59464"/>
                  <a:pt x="432464" y="63924"/>
                </a:cubicBezTo>
                <a:cubicBezTo>
                  <a:pt x="433538" y="68384"/>
                  <a:pt x="434076" y="73740"/>
                  <a:pt x="434076" y="79991"/>
                </a:cubicBezTo>
                <a:lnTo>
                  <a:pt x="434076" y="133611"/>
                </a:lnTo>
                <a:cubicBezTo>
                  <a:pt x="434076" y="134131"/>
                  <a:pt x="433945" y="134571"/>
                  <a:pt x="433685" y="134929"/>
                </a:cubicBezTo>
                <a:cubicBezTo>
                  <a:pt x="433424" y="135287"/>
                  <a:pt x="433001" y="135596"/>
                  <a:pt x="432415" y="135857"/>
                </a:cubicBezTo>
                <a:cubicBezTo>
                  <a:pt x="431829" y="136117"/>
                  <a:pt x="431015" y="136313"/>
                  <a:pt x="429973" y="136443"/>
                </a:cubicBezTo>
                <a:cubicBezTo>
                  <a:pt x="428932" y="136573"/>
                  <a:pt x="427629" y="136638"/>
                  <a:pt x="426067" y="136638"/>
                </a:cubicBezTo>
                <a:cubicBezTo>
                  <a:pt x="424439" y="136638"/>
                  <a:pt x="423104" y="136573"/>
                  <a:pt x="422062" y="136443"/>
                </a:cubicBezTo>
                <a:cubicBezTo>
                  <a:pt x="421020" y="136313"/>
                  <a:pt x="420207" y="136117"/>
                  <a:pt x="419621" y="135857"/>
                </a:cubicBezTo>
                <a:cubicBezTo>
                  <a:pt x="419035" y="135596"/>
                  <a:pt x="418611" y="135287"/>
                  <a:pt x="418351" y="134929"/>
                </a:cubicBezTo>
                <a:cubicBezTo>
                  <a:pt x="418090" y="134571"/>
                  <a:pt x="417960" y="134131"/>
                  <a:pt x="417960" y="133611"/>
                </a:cubicBezTo>
                <a:lnTo>
                  <a:pt x="417960" y="82139"/>
                </a:lnTo>
                <a:cubicBezTo>
                  <a:pt x="417960" y="77126"/>
                  <a:pt x="417569" y="73089"/>
                  <a:pt x="416788" y="70028"/>
                </a:cubicBezTo>
                <a:cubicBezTo>
                  <a:pt x="416007" y="66968"/>
                  <a:pt x="414867" y="64331"/>
                  <a:pt x="413370" y="62117"/>
                </a:cubicBezTo>
                <a:cubicBezTo>
                  <a:pt x="411872" y="59903"/>
                  <a:pt x="409935" y="58210"/>
                  <a:pt x="407558" y="57038"/>
                </a:cubicBezTo>
                <a:cubicBezTo>
                  <a:pt x="405182" y="55866"/>
                  <a:pt x="402431" y="55280"/>
                  <a:pt x="399306" y="55280"/>
                </a:cubicBezTo>
                <a:cubicBezTo>
                  <a:pt x="395269" y="55280"/>
                  <a:pt x="391232" y="56713"/>
                  <a:pt x="387195" y="59578"/>
                </a:cubicBezTo>
                <a:cubicBezTo>
                  <a:pt x="383158" y="62443"/>
                  <a:pt x="378925" y="66643"/>
                  <a:pt x="374498" y="72177"/>
                </a:cubicBezTo>
                <a:lnTo>
                  <a:pt x="374498" y="133611"/>
                </a:lnTo>
                <a:cubicBezTo>
                  <a:pt x="374498" y="134131"/>
                  <a:pt x="374367" y="134571"/>
                  <a:pt x="374107" y="134929"/>
                </a:cubicBezTo>
                <a:cubicBezTo>
                  <a:pt x="373847" y="135287"/>
                  <a:pt x="373423" y="135596"/>
                  <a:pt x="372837" y="135857"/>
                </a:cubicBezTo>
                <a:cubicBezTo>
                  <a:pt x="372251" y="136117"/>
                  <a:pt x="371437" y="136313"/>
                  <a:pt x="370396" y="136443"/>
                </a:cubicBezTo>
                <a:cubicBezTo>
                  <a:pt x="369354" y="136573"/>
                  <a:pt x="368019" y="136638"/>
                  <a:pt x="366391" y="136638"/>
                </a:cubicBezTo>
                <a:cubicBezTo>
                  <a:pt x="364829" y="136638"/>
                  <a:pt x="363526" y="136573"/>
                  <a:pt x="362484" y="136443"/>
                </a:cubicBezTo>
                <a:cubicBezTo>
                  <a:pt x="361443" y="136313"/>
                  <a:pt x="360613" y="136117"/>
                  <a:pt x="359994" y="135857"/>
                </a:cubicBezTo>
                <a:cubicBezTo>
                  <a:pt x="359375" y="135596"/>
                  <a:pt x="358952" y="135287"/>
                  <a:pt x="358724" y="134929"/>
                </a:cubicBezTo>
                <a:cubicBezTo>
                  <a:pt x="358496" y="134571"/>
                  <a:pt x="358382" y="134131"/>
                  <a:pt x="358382" y="133611"/>
                </a:cubicBezTo>
                <a:lnTo>
                  <a:pt x="358382" y="45709"/>
                </a:lnTo>
                <a:cubicBezTo>
                  <a:pt x="358382" y="45188"/>
                  <a:pt x="358480" y="44749"/>
                  <a:pt x="358675" y="44390"/>
                </a:cubicBezTo>
                <a:cubicBezTo>
                  <a:pt x="358871" y="44032"/>
                  <a:pt x="359261" y="43707"/>
                  <a:pt x="359847" y="43414"/>
                </a:cubicBezTo>
                <a:cubicBezTo>
                  <a:pt x="360433" y="43121"/>
                  <a:pt x="361182" y="42925"/>
                  <a:pt x="362094" y="42828"/>
                </a:cubicBezTo>
                <a:cubicBezTo>
                  <a:pt x="363005" y="42730"/>
                  <a:pt x="364210" y="42681"/>
                  <a:pt x="365708" y="42681"/>
                </a:cubicBezTo>
                <a:cubicBezTo>
                  <a:pt x="367140" y="42681"/>
                  <a:pt x="368328" y="42730"/>
                  <a:pt x="369272" y="42828"/>
                </a:cubicBezTo>
                <a:cubicBezTo>
                  <a:pt x="370217" y="42925"/>
                  <a:pt x="370949" y="43121"/>
                  <a:pt x="371470" y="43414"/>
                </a:cubicBezTo>
                <a:cubicBezTo>
                  <a:pt x="371991" y="43707"/>
                  <a:pt x="372365" y="44032"/>
                  <a:pt x="372593" y="44390"/>
                </a:cubicBezTo>
                <a:cubicBezTo>
                  <a:pt x="372821" y="44749"/>
                  <a:pt x="372935" y="45188"/>
                  <a:pt x="372935" y="45709"/>
                </a:cubicBezTo>
                <a:lnTo>
                  <a:pt x="372935" y="57331"/>
                </a:lnTo>
                <a:cubicBezTo>
                  <a:pt x="377884" y="51797"/>
                  <a:pt x="382816" y="47744"/>
                  <a:pt x="387732" y="45172"/>
                </a:cubicBezTo>
                <a:cubicBezTo>
                  <a:pt x="392648" y="42600"/>
                  <a:pt x="397613" y="41314"/>
                  <a:pt x="402626" y="41314"/>
                </a:cubicBezTo>
                <a:close/>
                <a:moveTo>
                  <a:pt x="299465" y="41314"/>
                </a:moveTo>
                <a:cubicBezTo>
                  <a:pt x="306367" y="41314"/>
                  <a:pt x="312243" y="42421"/>
                  <a:pt x="317094" y="44635"/>
                </a:cubicBezTo>
                <a:cubicBezTo>
                  <a:pt x="321945" y="46848"/>
                  <a:pt x="325933" y="49827"/>
                  <a:pt x="329059" y="53571"/>
                </a:cubicBezTo>
                <a:cubicBezTo>
                  <a:pt x="332184" y="57315"/>
                  <a:pt x="334479" y="61710"/>
                  <a:pt x="335944" y="66756"/>
                </a:cubicBezTo>
                <a:cubicBezTo>
                  <a:pt x="337409" y="71803"/>
                  <a:pt x="338142" y="77191"/>
                  <a:pt x="338142" y="82921"/>
                </a:cubicBezTo>
                <a:lnTo>
                  <a:pt x="338142" y="85851"/>
                </a:lnTo>
                <a:cubicBezTo>
                  <a:pt x="338142" y="88390"/>
                  <a:pt x="337504" y="90197"/>
                  <a:pt x="336229" y="91271"/>
                </a:cubicBezTo>
                <a:cubicBezTo>
                  <a:pt x="334954" y="92346"/>
                  <a:pt x="333498" y="92883"/>
                  <a:pt x="331862" y="92883"/>
                </a:cubicBezTo>
                <a:lnTo>
                  <a:pt x="273974" y="92883"/>
                </a:lnTo>
                <a:cubicBezTo>
                  <a:pt x="273974" y="97766"/>
                  <a:pt x="274464" y="102161"/>
                  <a:pt x="275445" y="106068"/>
                </a:cubicBezTo>
                <a:cubicBezTo>
                  <a:pt x="276427" y="109975"/>
                  <a:pt x="278062" y="113328"/>
                  <a:pt x="280353" y="116128"/>
                </a:cubicBezTo>
                <a:cubicBezTo>
                  <a:pt x="282643" y="118928"/>
                  <a:pt x="285620" y="121076"/>
                  <a:pt x="289284" y="122574"/>
                </a:cubicBezTo>
                <a:cubicBezTo>
                  <a:pt x="292948" y="124072"/>
                  <a:pt x="297430" y="124820"/>
                  <a:pt x="302729" y="124820"/>
                </a:cubicBezTo>
                <a:cubicBezTo>
                  <a:pt x="306917" y="124820"/>
                  <a:pt x="310646" y="124479"/>
                  <a:pt x="313918" y="123795"/>
                </a:cubicBezTo>
                <a:cubicBezTo>
                  <a:pt x="317189" y="123111"/>
                  <a:pt x="320019" y="122346"/>
                  <a:pt x="322407" y="121500"/>
                </a:cubicBezTo>
                <a:cubicBezTo>
                  <a:pt x="324795" y="120653"/>
                  <a:pt x="326759" y="119888"/>
                  <a:pt x="328296" y="119204"/>
                </a:cubicBezTo>
                <a:cubicBezTo>
                  <a:pt x="329834" y="118521"/>
                  <a:pt x="330996" y="118179"/>
                  <a:pt x="331781" y="118179"/>
                </a:cubicBezTo>
                <a:cubicBezTo>
                  <a:pt x="332239" y="118179"/>
                  <a:pt x="332648" y="118293"/>
                  <a:pt x="333007" y="118521"/>
                </a:cubicBezTo>
                <a:cubicBezTo>
                  <a:pt x="333367" y="118749"/>
                  <a:pt x="333645" y="119090"/>
                  <a:pt x="333841" y="119546"/>
                </a:cubicBezTo>
                <a:cubicBezTo>
                  <a:pt x="334038" y="120002"/>
                  <a:pt x="334185" y="120637"/>
                  <a:pt x="334283" y="121451"/>
                </a:cubicBezTo>
                <a:cubicBezTo>
                  <a:pt x="334381" y="122265"/>
                  <a:pt x="334430" y="123258"/>
                  <a:pt x="334430" y="124430"/>
                </a:cubicBezTo>
                <a:cubicBezTo>
                  <a:pt x="334430" y="125276"/>
                  <a:pt x="334398" y="126009"/>
                  <a:pt x="334333" y="126627"/>
                </a:cubicBezTo>
                <a:cubicBezTo>
                  <a:pt x="334268" y="127246"/>
                  <a:pt x="334186" y="127799"/>
                  <a:pt x="334089" y="128288"/>
                </a:cubicBezTo>
                <a:cubicBezTo>
                  <a:pt x="333991" y="128776"/>
                  <a:pt x="333828" y="129215"/>
                  <a:pt x="333600" y="129606"/>
                </a:cubicBezTo>
                <a:cubicBezTo>
                  <a:pt x="333372" y="129997"/>
                  <a:pt x="333079" y="130371"/>
                  <a:pt x="332721" y="130729"/>
                </a:cubicBezTo>
                <a:cubicBezTo>
                  <a:pt x="332363" y="131087"/>
                  <a:pt x="331305" y="131673"/>
                  <a:pt x="329547" y="132487"/>
                </a:cubicBezTo>
                <a:cubicBezTo>
                  <a:pt x="327789" y="133301"/>
                  <a:pt x="325510" y="134099"/>
                  <a:pt x="322710" y="134880"/>
                </a:cubicBezTo>
                <a:cubicBezTo>
                  <a:pt x="319910" y="135662"/>
                  <a:pt x="316671" y="136362"/>
                  <a:pt x="312992" y="136980"/>
                </a:cubicBezTo>
                <a:cubicBezTo>
                  <a:pt x="309313" y="137599"/>
                  <a:pt x="305390" y="137908"/>
                  <a:pt x="301223" y="137908"/>
                </a:cubicBezTo>
                <a:cubicBezTo>
                  <a:pt x="293996" y="137908"/>
                  <a:pt x="287663" y="136899"/>
                  <a:pt x="282227" y="134880"/>
                </a:cubicBezTo>
                <a:cubicBezTo>
                  <a:pt x="276790" y="132862"/>
                  <a:pt x="272216" y="129867"/>
                  <a:pt x="268504" y="125895"/>
                </a:cubicBezTo>
                <a:cubicBezTo>
                  <a:pt x="264793" y="121923"/>
                  <a:pt x="261993" y="116942"/>
                  <a:pt x="260105" y="110951"/>
                </a:cubicBezTo>
                <a:cubicBezTo>
                  <a:pt x="258216" y="104961"/>
                  <a:pt x="257272" y="97994"/>
                  <a:pt x="257272" y="90050"/>
                </a:cubicBezTo>
                <a:cubicBezTo>
                  <a:pt x="257272" y="82497"/>
                  <a:pt x="258249" y="75709"/>
                  <a:pt x="260202" y="69687"/>
                </a:cubicBezTo>
                <a:cubicBezTo>
                  <a:pt x="262156" y="63664"/>
                  <a:pt x="264972" y="58552"/>
                  <a:pt x="268651" y="54353"/>
                </a:cubicBezTo>
                <a:cubicBezTo>
                  <a:pt x="272330" y="50153"/>
                  <a:pt x="276773" y="46930"/>
                  <a:pt x="281982" y="44683"/>
                </a:cubicBezTo>
                <a:cubicBezTo>
                  <a:pt x="287191" y="42437"/>
                  <a:pt x="293019" y="41314"/>
                  <a:pt x="299465" y="41314"/>
                </a:cubicBezTo>
                <a:close/>
                <a:moveTo>
                  <a:pt x="128359" y="41314"/>
                </a:moveTo>
                <a:cubicBezTo>
                  <a:pt x="130703" y="41314"/>
                  <a:pt x="133047" y="41509"/>
                  <a:pt x="135391" y="41900"/>
                </a:cubicBezTo>
                <a:cubicBezTo>
                  <a:pt x="137735" y="42291"/>
                  <a:pt x="139852" y="42779"/>
                  <a:pt x="141740" y="43365"/>
                </a:cubicBezTo>
                <a:cubicBezTo>
                  <a:pt x="143628" y="43951"/>
                  <a:pt x="145240" y="44586"/>
                  <a:pt x="146574" y="45269"/>
                </a:cubicBezTo>
                <a:cubicBezTo>
                  <a:pt x="147909" y="45953"/>
                  <a:pt x="148918" y="46555"/>
                  <a:pt x="149602" y="47076"/>
                </a:cubicBezTo>
                <a:cubicBezTo>
                  <a:pt x="150286" y="47597"/>
                  <a:pt x="150742" y="48053"/>
                  <a:pt x="150969" y="48444"/>
                </a:cubicBezTo>
                <a:cubicBezTo>
                  <a:pt x="151197" y="48834"/>
                  <a:pt x="151360" y="49274"/>
                  <a:pt x="151458" y="49762"/>
                </a:cubicBezTo>
                <a:cubicBezTo>
                  <a:pt x="151555" y="50251"/>
                  <a:pt x="151653" y="50853"/>
                  <a:pt x="151751" y="51569"/>
                </a:cubicBezTo>
                <a:cubicBezTo>
                  <a:pt x="151848" y="52285"/>
                  <a:pt x="151897" y="53164"/>
                  <a:pt x="151897" y="54206"/>
                </a:cubicBezTo>
                <a:cubicBezTo>
                  <a:pt x="151897" y="55313"/>
                  <a:pt x="151848" y="56273"/>
                  <a:pt x="151751" y="57087"/>
                </a:cubicBezTo>
                <a:cubicBezTo>
                  <a:pt x="151653" y="57901"/>
                  <a:pt x="151490" y="58569"/>
                  <a:pt x="151262" y="59090"/>
                </a:cubicBezTo>
                <a:cubicBezTo>
                  <a:pt x="151035" y="59610"/>
                  <a:pt x="150758" y="59985"/>
                  <a:pt x="150432" y="60213"/>
                </a:cubicBezTo>
                <a:cubicBezTo>
                  <a:pt x="150107" y="60441"/>
                  <a:pt x="149749" y="60555"/>
                  <a:pt x="149358" y="60555"/>
                </a:cubicBezTo>
                <a:cubicBezTo>
                  <a:pt x="148772" y="60555"/>
                  <a:pt x="147925" y="60196"/>
                  <a:pt x="146819" y="59480"/>
                </a:cubicBezTo>
                <a:cubicBezTo>
                  <a:pt x="145712" y="58764"/>
                  <a:pt x="144279" y="57999"/>
                  <a:pt x="142521" y="57185"/>
                </a:cubicBezTo>
                <a:cubicBezTo>
                  <a:pt x="140763" y="56371"/>
                  <a:pt x="138696" y="55606"/>
                  <a:pt x="136319" y="54890"/>
                </a:cubicBezTo>
                <a:cubicBezTo>
                  <a:pt x="133943" y="54174"/>
                  <a:pt x="131224" y="53815"/>
                  <a:pt x="128164" y="53815"/>
                </a:cubicBezTo>
                <a:cubicBezTo>
                  <a:pt x="125429" y="53815"/>
                  <a:pt x="123020" y="54125"/>
                  <a:pt x="120936" y="54743"/>
                </a:cubicBezTo>
                <a:cubicBezTo>
                  <a:pt x="118853" y="55362"/>
                  <a:pt x="117144" y="56241"/>
                  <a:pt x="115809" y="57380"/>
                </a:cubicBezTo>
                <a:cubicBezTo>
                  <a:pt x="114474" y="58520"/>
                  <a:pt x="113465" y="59871"/>
                  <a:pt x="112781" y="61434"/>
                </a:cubicBezTo>
                <a:cubicBezTo>
                  <a:pt x="112097" y="62996"/>
                  <a:pt x="111756" y="64689"/>
                  <a:pt x="111756" y="66512"/>
                </a:cubicBezTo>
                <a:cubicBezTo>
                  <a:pt x="111756" y="69052"/>
                  <a:pt x="112407" y="71184"/>
                  <a:pt x="113709" y="72910"/>
                </a:cubicBezTo>
                <a:cubicBezTo>
                  <a:pt x="115011" y="74635"/>
                  <a:pt x="116704" y="76149"/>
                  <a:pt x="118788" y="77451"/>
                </a:cubicBezTo>
                <a:cubicBezTo>
                  <a:pt x="120871" y="78753"/>
                  <a:pt x="123248" y="79925"/>
                  <a:pt x="125918" y="80967"/>
                </a:cubicBezTo>
                <a:cubicBezTo>
                  <a:pt x="128587" y="82009"/>
                  <a:pt x="131306" y="83083"/>
                  <a:pt x="134073" y="84190"/>
                </a:cubicBezTo>
                <a:cubicBezTo>
                  <a:pt x="136840" y="85297"/>
                  <a:pt x="139575" y="86534"/>
                  <a:pt x="142277" y="87902"/>
                </a:cubicBezTo>
                <a:cubicBezTo>
                  <a:pt x="144979" y="89269"/>
                  <a:pt x="147372" y="90929"/>
                  <a:pt x="149456" y="92883"/>
                </a:cubicBezTo>
                <a:cubicBezTo>
                  <a:pt x="151539" y="94836"/>
                  <a:pt x="153216" y="97180"/>
                  <a:pt x="154486" y="99915"/>
                </a:cubicBezTo>
                <a:cubicBezTo>
                  <a:pt x="155755" y="102650"/>
                  <a:pt x="156390" y="105905"/>
                  <a:pt x="156390" y="109682"/>
                </a:cubicBezTo>
                <a:cubicBezTo>
                  <a:pt x="156390" y="114175"/>
                  <a:pt x="155560" y="118179"/>
                  <a:pt x="153900" y="121695"/>
                </a:cubicBezTo>
                <a:cubicBezTo>
                  <a:pt x="152239" y="125211"/>
                  <a:pt x="149879" y="128174"/>
                  <a:pt x="146819" y="130583"/>
                </a:cubicBezTo>
                <a:cubicBezTo>
                  <a:pt x="143758" y="132992"/>
                  <a:pt x="140112" y="134815"/>
                  <a:pt x="135880" y="136052"/>
                </a:cubicBezTo>
                <a:cubicBezTo>
                  <a:pt x="131647" y="137289"/>
                  <a:pt x="126992" y="137908"/>
                  <a:pt x="121913" y="137908"/>
                </a:cubicBezTo>
                <a:cubicBezTo>
                  <a:pt x="118788" y="137908"/>
                  <a:pt x="115809" y="137664"/>
                  <a:pt x="112976" y="137175"/>
                </a:cubicBezTo>
                <a:cubicBezTo>
                  <a:pt x="110144" y="136687"/>
                  <a:pt x="107605" y="136069"/>
                  <a:pt x="105358" y="135320"/>
                </a:cubicBezTo>
                <a:cubicBezTo>
                  <a:pt x="103112" y="134571"/>
                  <a:pt x="101207" y="133790"/>
                  <a:pt x="99645" y="132976"/>
                </a:cubicBezTo>
                <a:cubicBezTo>
                  <a:pt x="98082" y="132162"/>
                  <a:pt x="96943" y="131429"/>
                  <a:pt x="96226" y="130778"/>
                </a:cubicBezTo>
                <a:cubicBezTo>
                  <a:pt x="95510" y="130127"/>
                  <a:pt x="94989" y="129215"/>
                  <a:pt x="94664" y="128043"/>
                </a:cubicBezTo>
                <a:cubicBezTo>
                  <a:pt x="94338" y="126871"/>
                  <a:pt x="94175" y="125276"/>
                  <a:pt x="94175" y="123258"/>
                </a:cubicBezTo>
                <a:cubicBezTo>
                  <a:pt x="94175" y="122021"/>
                  <a:pt x="94240" y="120979"/>
                  <a:pt x="94371" y="120132"/>
                </a:cubicBezTo>
                <a:cubicBezTo>
                  <a:pt x="94501" y="119286"/>
                  <a:pt x="94664" y="118602"/>
                  <a:pt x="94859" y="118081"/>
                </a:cubicBezTo>
                <a:cubicBezTo>
                  <a:pt x="95054" y="117560"/>
                  <a:pt x="95331" y="117186"/>
                  <a:pt x="95689" y="116958"/>
                </a:cubicBezTo>
                <a:cubicBezTo>
                  <a:pt x="96047" y="116730"/>
                  <a:pt x="96454" y="116616"/>
                  <a:pt x="96910" y="116616"/>
                </a:cubicBezTo>
                <a:cubicBezTo>
                  <a:pt x="97626" y="116616"/>
                  <a:pt x="98684" y="117056"/>
                  <a:pt x="100084" y="117935"/>
                </a:cubicBezTo>
                <a:cubicBezTo>
                  <a:pt x="101484" y="118814"/>
                  <a:pt x="103210" y="119774"/>
                  <a:pt x="105261" y="120816"/>
                </a:cubicBezTo>
                <a:cubicBezTo>
                  <a:pt x="107312" y="121858"/>
                  <a:pt x="109737" y="122818"/>
                  <a:pt x="112537" y="123697"/>
                </a:cubicBezTo>
                <a:cubicBezTo>
                  <a:pt x="115337" y="124576"/>
                  <a:pt x="118560" y="125016"/>
                  <a:pt x="122206" y="125016"/>
                </a:cubicBezTo>
                <a:cubicBezTo>
                  <a:pt x="124941" y="125016"/>
                  <a:pt x="127415" y="124723"/>
                  <a:pt x="129629" y="124137"/>
                </a:cubicBezTo>
                <a:cubicBezTo>
                  <a:pt x="131843" y="123551"/>
                  <a:pt x="133764" y="122688"/>
                  <a:pt x="135391" y="121548"/>
                </a:cubicBezTo>
                <a:cubicBezTo>
                  <a:pt x="137019" y="120409"/>
                  <a:pt x="138273" y="118960"/>
                  <a:pt x="139152" y="117202"/>
                </a:cubicBezTo>
                <a:cubicBezTo>
                  <a:pt x="140031" y="115444"/>
                  <a:pt x="140470" y="113361"/>
                  <a:pt x="140470" y="110951"/>
                </a:cubicBezTo>
                <a:cubicBezTo>
                  <a:pt x="140470" y="108477"/>
                  <a:pt x="139835" y="106394"/>
                  <a:pt x="138566" y="104701"/>
                </a:cubicBezTo>
                <a:cubicBezTo>
                  <a:pt x="137296" y="103008"/>
                  <a:pt x="135619" y="101510"/>
                  <a:pt x="133536" y="100208"/>
                </a:cubicBezTo>
                <a:cubicBezTo>
                  <a:pt x="131452" y="98906"/>
                  <a:pt x="129108" y="97750"/>
                  <a:pt x="126504" y="96741"/>
                </a:cubicBezTo>
                <a:cubicBezTo>
                  <a:pt x="123899" y="95731"/>
                  <a:pt x="121213" y="94673"/>
                  <a:pt x="118446" y="93566"/>
                </a:cubicBezTo>
                <a:cubicBezTo>
                  <a:pt x="115679" y="92460"/>
                  <a:pt x="112976" y="91206"/>
                  <a:pt x="110339" y="89806"/>
                </a:cubicBezTo>
                <a:cubicBezTo>
                  <a:pt x="107702" y="88406"/>
                  <a:pt x="105342" y="86697"/>
                  <a:pt x="103258" y="84679"/>
                </a:cubicBezTo>
                <a:cubicBezTo>
                  <a:pt x="101175" y="82660"/>
                  <a:pt x="99498" y="80251"/>
                  <a:pt x="98228" y="77451"/>
                </a:cubicBezTo>
                <a:cubicBezTo>
                  <a:pt x="96959" y="74651"/>
                  <a:pt x="96324" y="71298"/>
                  <a:pt x="96324" y="67391"/>
                </a:cubicBezTo>
                <a:cubicBezTo>
                  <a:pt x="96324" y="63940"/>
                  <a:pt x="96991" y="60636"/>
                  <a:pt x="98326" y="57478"/>
                </a:cubicBezTo>
                <a:cubicBezTo>
                  <a:pt x="99661" y="54320"/>
                  <a:pt x="101663" y="51553"/>
                  <a:pt x="104333" y="49176"/>
                </a:cubicBezTo>
                <a:cubicBezTo>
                  <a:pt x="107002" y="46800"/>
                  <a:pt x="110339" y="44895"/>
                  <a:pt x="114344" y="43463"/>
                </a:cubicBezTo>
                <a:cubicBezTo>
                  <a:pt x="118348" y="42030"/>
                  <a:pt x="123020" y="41314"/>
                  <a:pt x="128359" y="41314"/>
                </a:cubicBezTo>
                <a:close/>
                <a:moveTo>
                  <a:pt x="37504" y="41314"/>
                </a:moveTo>
                <a:cubicBezTo>
                  <a:pt x="43820" y="41314"/>
                  <a:pt x="49192" y="42030"/>
                  <a:pt x="53620" y="43463"/>
                </a:cubicBezTo>
                <a:cubicBezTo>
                  <a:pt x="58047" y="44895"/>
                  <a:pt x="61628" y="46995"/>
                  <a:pt x="64363" y="49762"/>
                </a:cubicBezTo>
                <a:cubicBezTo>
                  <a:pt x="67098" y="52529"/>
                  <a:pt x="69084" y="55964"/>
                  <a:pt x="70321" y="60066"/>
                </a:cubicBezTo>
                <a:cubicBezTo>
                  <a:pt x="71558" y="64168"/>
                  <a:pt x="72177" y="68954"/>
                  <a:pt x="72177" y="74423"/>
                </a:cubicBezTo>
                <a:lnTo>
                  <a:pt x="72177" y="133708"/>
                </a:lnTo>
                <a:cubicBezTo>
                  <a:pt x="72177" y="134490"/>
                  <a:pt x="71916" y="135076"/>
                  <a:pt x="71395" y="135466"/>
                </a:cubicBezTo>
                <a:cubicBezTo>
                  <a:pt x="70874" y="135857"/>
                  <a:pt x="70158" y="136150"/>
                  <a:pt x="69247" y="136345"/>
                </a:cubicBezTo>
                <a:cubicBezTo>
                  <a:pt x="68335" y="136541"/>
                  <a:pt x="67000" y="136638"/>
                  <a:pt x="65242" y="136638"/>
                </a:cubicBezTo>
                <a:cubicBezTo>
                  <a:pt x="63549" y="136638"/>
                  <a:pt x="62198" y="136541"/>
                  <a:pt x="61189" y="136345"/>
                </a:cubicBezTo>
                <a:cubicBezTo>
                  <a:pt x="60180" y="136150"/>
                  <a:pt x="59447" y="135857"/>
                  <a:pt x="58991" y="135466"/>
                </a:cubicBezTo>
                <a:cubicBezTo>
                  <a:pt x="58536" y="135076"/>
                  <a:pt x="58308" y="134490"/>
                  <a:pt x="58308" y="133708"/>
                </a:cubicBezTo>
                <a:lnTo>
                  <a:pt x="58308" y="124918"/>
                </a:lnTo>
                <a:cubicBezTo>
                  <a:pt x="54466" y="129020"/>
                  <a:pt x="50185" y="132211"/>
                  <a:pt x="45464" y="134490"/>
                </a:cubicBezTo>
                <a:cubicBezTo>
                  <a:pt x="40744" y="136768"/>
                  <a:pt x="35746" y="137908"/>
                  <a:pt x="30472" y="137908"/>
                </a:cubicBezTo>
                <a:cubicBezTo>
                  <a:pt x="25849" y="137908"/>
                  <a:pt x="21666" y="137306"/>
                  <a:pt x="17922" y="136101"/>
                </a:cubicBezTo>
                <a:cubicBezTo>
                  <a:pt x="14178" y="134896"/>
                  <a:pt x="10987" y="133155"/>
                  <a:pt x="8350" y="130876"/>
                </a:cubicBezTo>
                <a:cubicBezTo>
                  <a:pt x="5713" y="128597"/>
                  <a:pt x="3662" y="125797"/>
                  <a:pt x="2197" y="122476"/>
                </a:cubicBezTo>
                <a:cubicBezTo>
                  <a:pt x="732" y="119156"/>
                  <a:pt x="0" y="115379"/>
                  <a:pt x="0" y="111147"/>
                </a:cubicBezTo>
                <a:cubicBezTo>
                  <a:pt x="0" y="106198"/>
                  <a:pt x="1009" y="101901"/>
                  <a:pt x="3027" y="98255"/>
                </a:cubicBezTo>
                <a:cubicBezTo>
                  <a:pt x="5046" y="94608"/>
                  <a:pt x="7943" y="91581"/>
                  <a:pt x="11720" y="89171"/>
                </a:cubicBezTo>
                <a:cubicBezTo>
                  <a:pt x="15496" y="86762"/>
                  <a:pt x="20119" y="84955"/>
                  <a:pt x="25589" y="83751"/>
                </a:cubicBezTo>
                <a:cubicBezTo>
                  <a:pt x="31058" y="82546"/>
                  <a:pt x="37211" y="81944"/>
                  <a:pt x="44048" y="81944"/>
                </a:cubicBezTo>
                <a:lnTo>
                  <a:pt x="56159" y="81944"/>
                </a:lnTo>
                <a:lnTo>
                  <a:pt x="56159" y="75107"/>
                </a:lnTo>
                <a:cubicBezTo>
                  <a:pt x="56159" y="71721"/>
                  <a:pt x="55801" y="68726"/>
                  <a:pt x="55085" y="66122"/>
                </a:cubicBezTo>
                <a:cubicBezTo>
                  <a:pt x="54368" y="63517"/>
                  <a:pt x="53213" y="61352"/>
                  <a:pt x="51617" y="59627"/>
                </a:cubicBezTo>
                <a:cubicBezTo>
                  <a:pt x="50022" y="57901"/>
                  <a:pt x="47955" y="56599"/>
                  <a:pt x="45415" y="55720"/>
                </a:cubicBezTo>
                <a:cubicBezTo>
                  <a:pt x="42876" y="54841"/>
                  <a:pt x="39751" y="54401"/>
                  <a:pt x="36039" y="54401"/>
                </a:cubicBezTo>
                <a:cubicBezTo>
                  <a:pt x="32067" y="54401"/>
                  <a:pt x="28503" y="54873"/>
                  <a:pt x="25345" y="55818"/>
                </a:cubicBezTo>
                <a:cubicBezTo>
                  <a:pt x="22187" y="56762"/>
                  <a:pt x="19419" y="57804"/>
                  <a:pt x="17043" y="58943"/>
                </a:cubicBezTo>
                <a:cubicBezTo>
                  <a:pt x="14666" y="60082"/>
                  <a:pt x="12680" y="61124"/>
                  <a:pt x="11085" y="62068"/>
                </a:cubicBezTo>
                <a:cubicBezTo>
                  <a:pt x="9490" y="63013"/>
                  <a:pt x="8301" y="63485"/>
                  <a:pt x="7520" y="63485"/>
                </a:cubicBezTo>
                <a:cubicBezTo>
                  <a:pt x="6999" y="63485"/>
                  <a:pt x="6543" y="63354"/>
                  <a:pt x="6153" y="63094"/>
                </a:cubicBezTo>
                <a:cubicBezTo>
                  <a:pt x="5762" y="62833"/>
                  <a:pt x="5420" y="62443"/>
                  <a:pt x="5127" y="61922"/>
                </a:cubicBezTo>
                <a:cubicBezTo>
                  <a:pt x="4834" y="61401"/>
                  <a:pt x="4623" y="60734"/>
                  <a:pt x="4492" y="59920"/>
                </a:cubicBezTo>
                <a:cubicBezTo>
                  <a:pt x="4362" y="59106"/>
                  <a:pt x="4297" y="58210"/>
                  <a:pt x="4297" y="57234"/>
                </a:cubicBezTo>
                <a:cubicBezTo>
                  <a:pt x="4297" y="55606"/>
                  <a:pt x="4411" y="54320"/>
                  <a:pt x="4639" y="53376"/>
                </a:cubicBezTo>
                <a:cubicBezTo>
                  <a:pt x="4867" y="52432"/>
                  <a:pt x="5420" y="51536"/>
                  <a:pt x="6299" y="50690"/>
                </a:cubicBezTo>
                <a:cubicBezTo>
                  <a:pt x="7178" y="49844"/>
                  <a:pt x="8692" y="48851"/>
                  <a:pt x="10841" y="47711"/>
                </a:cubicBezTo>
                <a:cubicBezTo>
                  <a:pt x="12990" y="46572"/>
                  <a:pt x="15464" y="45530"/>
                  <a:pt x="18264" y="44586"/>
                </a:cubicBezTo>
                <a:cubicBezTo>
                  <a:pt x="21063" y="43642"/>
                  <a:pt x="24124" y="42860"/>
                  <a:pt x="27444" y="42242"/>
                </a:cubicBezTo>
                <a:cubicBezTo>
                  <a:pt x="30765" y="41623"/>
                  <a:pt x="34118" y="41314"/>
                  <a:pt x="37504" y="41314"/>
                </a:cubicBezTo>
                <a:close/>
                <a:moveTo>
                  <a:pt x="576039" y="6446"/>
                </a:moveTo>
                <a:cubicBezTo>
                  <a:pt x="579815" y="6446"/>
                  <a:pt x="582404" y="7114"/>
                  <a:pt x="583804" y="8448"/>
                </a:cubicBezTo>
                <a:cubicBezTo>
                  <a:pt x="585204" y="9783"/>
                  <a:pt x="585903" y="12306"/>
                  <a:pt x="585903" y="16018"/>
                </a:cubicBezTo>
                <a:cubicBezTo>
                  <a:pt x="585903" y="19794"/>
                  <a:pt x="585187" y="22366"/>
                  <a:pt x="583755" y="23734"/>
                </a:cubicBezTo>
                <a:cubicBezTo>
                  <a:pt x="582322" y="25101"/>
                  <a:pt x="579685" y="25785"/>
                  <a:pt x="575844" y="25785"/>
                </a:cubicBezTo>
                <a:cubicBezTo>
                  <a:pt x="572067" y="25785"/>
                  <a:pt x="569479" y="25117"/>
                  <a:pt x="568079" y="23782"/>
                </a:cubicBezTo>
                <a:cubicBezTo>
                  <a:pt x="566679" y="22448"/>
                  <a:pt x="565979" y="19924"/>
                  <a:pt x="565979" y="16213"/>
                </a:cubicBezTo>
                <a:cubicBezTo>
                  <a:pt x="565979" y="12437"/>
                  <a:pt x="566695" y="9865"/>
                  <a:pt x="568128" y="8497"/>
                </a:cubicBezTo>
                <a:cubicBezTo>
                  <a:pt x="569560" y="7130"/>
                  <a:pt x="572197" y="6446"/>
                  <a:pt x="576039" y="6446"/>
                </a:cubicBezTo>
                <a:close/>
                <a:moveTo>
                  <a:pt x="530256" y="391"/>
                </a:moveTo>
                <a:cubicBezTo>
                  <a:pt x="531883" y="391"/>
                  <a:pt x="533218" y="472"/>
                  <a:pt x="534260" y="635"/>
                </a:cubicBezTo>
                <a:cubicBezTo>
                  <a:pt x="535302" y="798"/>
                  <a:pt x="536116" y="993"/>
                  <a:pt x="536702" y="1221"/>
                </a:cubicBezTo>
                <a:cubicBezTo>
                  <a:pt x="537288" y="1449"/>
                  <a:pt x="537727" y="1774"/>
                  <a:pt x="538020" y="2198"/>
                </a:cubicBezTo>
                <a:cubicBezTo>
                  <a:pt x="538313" y="2621"/>
                  <a:pt x="538460" y="3060"/>
                  <a:pt x="538460" y="3516"/>
                </a:cubicBezTo>
                <a:lnTo>
                  <a:pt x="538460" y="133611"/>
                </a:lnTo>
                <a:cubicBezTo>
                  <a:pt x="538460" y="134131"/>
                  <a:pt x="538346" y="134587"/>
                  <a:pt x="538118" y="134978"/>
                </a:cubicBezTo>
                <a:cubicBezTo>
                  <a:pt x="537890" y="135369"/>
                  <a:pt x="537499" y="135678"/>
                  <a:pt x="536946" y="135906"/>
                </a:cubicBezTo>
                <a:cubicBezTo>
                  <a:pt x="536392" y="136134"/>
                  <a:pt x="535660" y="136313"/>
                  <a:pt x="534748" y="136443"/>
                </a:cubicBezTo>
                <a:cubicBezTo>
                  <a:pt x="533837" y="136573"/>
                  <a:pt x="532730" y="136638"/>
                  <a:pt x="531428" y="136638"/>
                </a:cubicBezTo>
                <a:cubicBezTo>
                  <a:pt x="530060" y="136638"/>
                  <a:pt x="528921" y="136573"/>
                  <a:pt x="528009" y="136443"/>
                </a:cubicBezTo>
                <a:cubicBezTo>
                  <a:pt x="527098" y="136313"/>
                  <a:pt x="526349" y="136134"/>
                  <a:pt x="525763" y="135906"/>
                </a:cubicBezTo>
                <a:cubicBezTo>
                  <a:pt x="525177" y="135678"/>
                  <a:pt x="524754" y="135369"/>
                  <a:pt x="524493" y="134978"/>
                </a:cubicBezTo>
                <a:cubicBezTo>
                  <a:pt x="524233" y="134587"/>
                  <a:pt x="524103" y="134131"/>
                  <a:pt x="524103" y="133611"/>
                </a:cubicBezTo>
                <a:lnTo>
                  <a:pt x="524103" y="121988"/>
                </a:lnTo>
                <a:cubicBezTo>
                  <a:pt x="519480" y="127002"/>
                  <a:pt x="514678" y="130908"/>
                  <a:pt x="509696" y="133708"/>
                </a:cubicBezTo>
                <a:cubicBezTo>
                  <a:pt x="504715" y="136508"/>
                  <a:pt x="499262" y="137908"/>
                  <a:pt x="493337" y="137908"/>
                </a:cubicBezTo>
                <a:cubicBezTo>
                  <a:pt x="486891" y="137908"/>
                  <a:pt x="481389" y="136655"/>
                  <a:pt x="476831" y="134148"/>
                </a:cubicBezTo>
                <a:cubicBezTo>
                  <a:pt x="472273" y="131641"/>
                  <a:pt x="468578" y="128255"/>
                  <a:pt x="465746" y="123990"/>
                </a:cubicBezTo>
                <a:cubicBezTo>
                  <a:pt x="462913" y="119725"/>
                  <a:pt x="460846" y="114712"/>
                  <a:pt x="459544" y="108949"/>
                </a:cubicBezTo>
                <a:cubicBezTo>
                  <a:pt x="458241" y="103187"/>
                  <a:pt x="457590" y="97115"/>
                  <a:pt x="457590" y="90734"/>
                </a:cubicBezTo>
                <a:cubicBezTo>
                  <a:pt x="457590" y="83181"/>
                  <a:pt x="458404" y="76361"/>
                  <a:pt x="460032" y="70273"/>
                </a:cubicBezTo>
                <a:cubicBezTo>
                  <a:pt x="461660" y="64185"/>
                  <a:pt x="464069" y="58992"/>
                  <a:pt x="467260" y="54694"/>
                </a:cubicBezTo>
                <a:cubicBezTo>
                  <a:pt x="470450" y="50397"/>
                  <a:pt x="474406" y="47093"/>
                  <a:pt x="479126" y="44781"/>
                </a:cubicBezTo>
                <a:cubicBezTo>
                  <a:pt x="483847" y="42470"/>
                  <a:pt x="489300" y="41314"/>
                  <a:pt x="495486" y="41314"/>
                </a:cubicBezTo>
                <a:cubicBezTo>
                  <a:pt x="500630" y="41314"/>
                  <a:pt x="505334" y="42437"/>
                  <a:pt x="509599" y="44683"/>
                </a:cubicBezTo>
                <a:cubicBezTo>
                  <a:pt x="513864" y="46930"/>
                  <a:pt x="518080" y="50234"/>
                  <a:pt x="522247" y="54597"/>
                </a:cubicBezTo>
                <a:lnTo>
                  <a:pt x="522247" y="3516"/>
                </a:lnTo>
                <a:cubicBezTo>
                  <a:pt x="522247" y="3060"/>
                  <a:pt x="522361" y="2621"/>
                  <a:pt x="522589" y="2198"/>
                </a:cubicBezTo>
                <a:cubicBezTo>
                  <a:pt x="522817" y="1774"/>
                  <a:pt x="523256" y="1449"/>
                  <a:pt x="523907" y="1221"/>
                </a:cubicBezTo>
                <a:cubicBezTo>
                  <a:pt x="524558" y="993"/>
                  <a:pt x="525388" y="798"/>
                  <a:pt x="526398" y="635"/>
                </a:cubicBezTo>
                <a:cubicBezTo>
                  <a:pt x="527407" y="472"/>
                  <a:pt x="528693" y="391"/>
                  <a:pt x="530256" y="391"/>
                </a:cubicBezTo>
                <a:close/>
                <a:moveTo>
                  <a:pt x="804541" y="0"/>
                </a:moveTo>
                <a:cubicBezTo>
                  <a:pt x="806169" y="0"/>
                  <a:pt x="807504" y="65"/>
                  <a:pt x="808546" y="195"/>
                </a:cubicBezTo>
                <a:cubicBezTo>
                  <a:pt x="809587" y="326"/>
                  <a:pt x="810401" y="521"/>
                  <a:pt x="810987" y="781"/>
                </a:cubicBezTo>
                <a:cubicBezTo>
                  <a:pt x="811573" y="1042"/>
                  <a:pt x="811997" y="1367"/>
                  <a:pt x="812257" y="1758"/>
                </a:cubicBezTo>
                <a:cubicBezTo>
                  <a:pt x="812518" y="2149"/>
                  <a:pt x="812648" y="2605"/>
                  <a:pt x="812648" y="3125"/>
                </a:cubicBezTo>
                <a:lnTo>
                  <a:pt x="812648" y="55769"/>
                </a:lnTo>
                <a:cubicBezTo>
                  <a:pt x="817271" y="50885"/>
                  <a:pt x="821926" y="47255"/>
                  <a:pt x="826614" y="44879"/>
                </a:cubicBezTo>
                <a:cubicBezTo>
                  <a:pt x="831302" y="42502"/>
                  <a:pt x="836023" y="41314"/>
                  <a:pt x="840776" y="41314"/>
                </a:cubicBezTo>
                <a:cubicBezTo>
                  <a:pt x="846636" y="41314"/>
                  <a:pt x="851569" y="42307"/>
                  <a:pt x="855573" y="44293"/>
                </a:cubicBezTo>
                <a:cubicBezTo>
                  <a:pt x="859577" y="46279"/>
                  <a:pt x="862817" y="48932"/>
                  <a:pt x="865291" y="52253"/>
                </a:cubicBezTo>
                <a:cubicBezTo>
                  <a:pt x="867765" y="55573"/>
                  <a:pt x="869540" y="59464"/>
                  <a:pt x="870614" y="63924"/>
                </a:cubicBezTo>
                <a:cubicBezTo>
                  <a:pt x="871688" y="68384"/>
                  <a:pt x="872225" y="73772"/>
                  <a:pt x="872225" y="80088"/>
                </a:cubicBezTo>
                <a:lnTo>
                  <a:pt x="872225" y="133611"/>
                </a:lnTo>
                <a:cubicBezTo>
                  <a:pt x="872225" y="134131"/>
                  <a:pt x="872095" y="134571"/>
                  <a:pt x="871835" y="134929"/>
                </a:cubicBezTo>
                <a:cubicBezTo>
                  <a:pt x="871574" y="135287"/>
                  <a:pt x="871151" y="135596"/>
                  <a:pt x="870565" y="135857"/>
                </a:cubicBezTo>
                <a:cubicBezTo>
                  <a:pt x="869979" y="136117"/>
                  <a:pt x="869165" y="136313"/>
                  <a:pt x="868123" y="136443"/>
                </a:cubicBezTo>
                <a:cubicBezTo>
                  <a:pt x="867082" y="136573"/>
                  <a:pt x="865779" y="136638"/>
                  <a:pt x="864217" y="136638"/>
                </a:cubicBezTo>
                <a:cubicBezTo>
                  <a:pt x="862589" y="136638"/>
                  <a:pt x="861254" y="136573"/>
                  <a:pt x="860212" y="136443"/>
                </a:cubicBezTo>
                <a:cubicBezTo>
                  <a:pt x="859170" y="136313"/>
                  <a:pt x="858357" y="136117"/>
                  <a:pt x="857771" y="135857"/>
                </a:cubicBezTo>
                <a:cubicBezTo>
                  <a:pt x="857184" y="135596"/>
                  <a:pt x="856761" y="135287"/>
                  <a:pt x="856501" y="134929"/>
                </a:cubicBezTo>
                <a:cubicBezTo>
                  <a:pt x="856240" y="134571"/>
                  <a:pt x="856110" y="134131"/>
                  <a:pt x="856110" y="133611"/>
                </a:cubicBezTo>
                <a:lnTo>
                  <a:pt x="856110" y="82139"/>
                </a:lnTo>
                <a:cubicBezTo>
                  <a:pt x="856110" y="77126"/>
                  <a:pt x="855720" y="73089"/>
                  <a:pt x="854938" y="70028"/>
                </a:cubicBezTo>
                <a:cubicBezTo>
                  <a:pt x="854157" y="66968"/>
                  <a:pt x="853017" y="64331"/>
                  <a:pt x="851520" y="62117"/>
                </a:cubicBezTo>
                <a:cubicBezTo>
                  <a:pt x="850022" y="59903"/>
                  <a:pt x="848085" y="58210"/>
                  <a:pt x="845708" y="57038"/>
                </a:cubicBezTo>
                <a:cubicBezTo>
                  <a:pt x="843332" y="55866"/>
                  <a:pt x="840581" y="55280"/>
                  <a:pt x="837455" y="55280"/>
                </a:cubicBezTo>
                <a:cubicBezTo>
                  <a:pt x="833418" y="55280"/>
                  <a:pt x="829382" y="56713"/>
                  <a:pt x="825345" y="59578"/>
                </a:cubicBezTo>
                <a:cubicBezTo>
                  <a:pt x="821308" y="62443"/>
                  <a:pt x="817075" y="66643"/>
                  <a:pt x="812648" y="72177"/>
                </a:cubicBezTo>
                <a:lnTo>
                  <a:pt x="812648" y="133611"/>
                </a:lnTo>
                <a:cubicBezTo>
                  <a:pt x="812648" y="134131"/>
                  <a:pt x="812518" y="134571"/>
                  <a:pt x="812257" y="134929"/>
                </a:cubicBezTo>
                <a:cubicBezTo>
                  <a:pt x="811997" y="135287"/>
                  <a:pt x="811573" y="135596"/>
                  <a:pt x="810987" y="135857"/>
                </a:cubicBezTo>
                <a:cubicBezTo>
                  <a:pt x="810401" y="136117"/>
                  <a:pt x="809587" y="136313"/>
                  <a:pt x="808546" y="136443"/>
                </a:cubicBezTo>
                <a:cubicBezTo>
                  <a:pt x="807504" y="136573"/>
                  <a:pt x="806169" y="136638"/>
                  <a:pt x="804541" y="136638"/>
                </a:cubicBezTo>
                <a:cubicBezTo>
                  <a:pt x="802978" y="136638"/>
                  <a:pt x="801676" y="136573"/>
                  <a:pt x="800635" y="136443"/>
                </a:cubicBezTo>
                <a:cubicBezTo>
                  <a:pt x="799593" y="136313"/>
                  <a:pt x="798762" y="136117"/>
                  <a:pt x="798144" y="135857"/>
                </a:cubicBezTo>
                <a:cubicBezTo>
                  <a:pt x="797525" y="135596"/>
                  <a:pt x="797102" y="135287"/>
                  <a:pt x="796874" y="134929"/>
                </a:cubicBezTo>
                <a:cubicBezTo>
                  <a:pt x="796646" y="134571"/>
                  <a:pt x="796532" y="134131"/>
                  <a:pt x="796532" y="133611"/>
                </a:cubicBezTo>
                <a:lnTo>
                  <a:pt x="796532" y="3125"/>
                </a:lnTo>
                <a:cubicBezTo>
                  <a:pt x="796532" y="2605"/>
                  <a:pt x="796646" y="2149"/>
                  <a:pt x="796874" y="1758"/>
                </a:cubicBezTo>
                <a:cubicBezTo>
                  <a:pt x="797102" y="1367"/>
                  <a:pt x="797525" y="1042"/>
                  <a:pt x="798144" y="781"/>
                </a:cubicBezTo>
                <a:cubicBezTo>
                  <a:pt x="798762" y="521"/>
                  <a:pt x="799593" y="326"/>
                  <a:pt x="800635" y="195"/>
                </a:cubicBezTo>
                <a:cubicBezTo>
                  <a:pt x="801676" y="65"/>
                  <a:pt x="802978" y="0"/>
                  <a:pt x="80454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chemeClr val="accent1"/>
                </a:solidFill>
              </a14:hiddenLine>
            </a:ext>
          </a:extLst>
        </p:spPr>
        <p:txBody>
          <a:bodyPr vert="horz" lIns="72000" tIns="72000" rIns="72000" bIns="72000" rtlCol="0" anchor="t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endParaRPr lang="en-US" sz="14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2345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D83CB-BDC9-9E47-818B-4E29D844640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3DD73CF-9CD0-454E-BF0B-7C8FC7FF1B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295" y="6440259"/>
            <a:ext cx="8075936" cy="365125"/>
          </a:xfrm>
          <a:prstGeom prst="rect">
            <a:avLst/>
          </a:prstGeom>
        </p:spPr>
        <p:txBody>
          <a:bodyPr/>
          <a:lstStyle>
            <a:lvl1pPr>
              <a:defRPr sz="9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scendis Pharma Business Overview November 2023 |  Not for use in product promotion. </a:t>
            </a:r>
          </a:p>
        </p:txBody>
      </p:sp>
    </p:spTree>
    <p:extLst>
      <p:ext uri="{BB962C8B-B14F-4D97-AF65-F5344CB8AC3E}">
        <p14:creationId xmlns:p14="http://schemas.microsoft.com/office/powerpoint/2010/main" val="13162951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C59A3965-0FEC-C843-470B-67643DCE98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938588"/>
            <a:ext cx="12192000" cy="29265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3D6D4DC-CC68-7245-7F91-A5316BE13C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3999" y="774000"/>
            <a:ext cx="9000000" cy="1994392"/>
          </a:xfrm>
        </p:spPr>
        <p:txBody>
          <a:bodyPr vert="horz" wrap="square" anchor="t">
            <a:noAutofit/>
          </a:bodyPr>
          <a:lstStyle>
            <a:lvl1pPr algn="l"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of presentation goes here</a:t>
            </a:r>
            <a:br>
              <a:rPr lang="en-US"/>
            </a:br>
            <a:r>
              <a:rPr lang="en-US"/>
              <a:t>– max 3 lin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D0D1466-F44B-E480-A87B-737F00DE40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4000" y="3128392"/>
            <a:ext cx="6120000" cy="221599"/>
          </a:xfrm>
        </p:spPr>
        <p:txBody>
          <a:bodyPr>
            <a:spAutoFit/>
          </a:bodyPr>
          <a:lstStyle>
            <a:lvl1pPr marL="0" indent="0" algn="l">
              <a:buNone/>
              <a:defRPr sz="1600" b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 heading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7AC2213-3BE7-F3FE-FF09-CE1E432180C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40988" y="6022975"/>
            <a:ext cx="1371600" cy="4572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BF1CD9B6-8D2C-2001-2E09-E5A8B10D3AC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4762" y="1674912"/>
            <a:ext cx="12196762" cy="438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8896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C622D5C-CFC7-38C4-0C35-68A4CC4422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4960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622D5C-CFC7-38C4-0C35-68A4CC4422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4ECEF22A-F074-12E6-1920-C9CD01CFEF8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"/>
            <a:ext cx="12192000" cy="6047232"/>
          </a:xfrm>
          <a:custGeom>
            <a:avLst/>
            <a:gdLst>
              <a:gd name="connsiteX0" fmla="*/ 0 w 12192000"/>
              <a:gd name="connsiteY0" fmla="*/ 0 h 6047232"/>
              <a:gd name="connsiteX1" fmla="*/ 12192000 w 12192000"/>
              <a:gd name="connsiteY1" fmla="*/ 0 h 6047232"/>
              <a:gd name="connsiteX2" fmla="*/ 12192000 w 12192000"/>
              <a:gd name="connsiteY2" fmla="*/ 3939137 h 6047232"/>
              <a:gd name="connsiteX3" fmla="*/ 12028125 w 12192000"/>
              <a:gd name="connsiteY3" fmla="*/ 4017742 h 6047232"/>
              <a:gd name="connsiteX4" fmla="*/ 0 w 12192000"/>
              <a:gd name="connsiteY4" fmla="*/ 6029815 h 6047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047232">
                <a:moveTo>
                  <a:pt x="0" y="0"/>
                </a:moveTo>
                <a:lnTo>
                  <a:pt x="12192000" y="0"/>
                </a:lnTo>
                <a:lnTo>
                  <a:pt x="12192000" y="3939137"/>
                </a:lnTo>
                <a:lnTo>
                  <a:pt x="12028125" y="4017742"/>
                </a:lnTo>
                <a:cubicBezTo>
                  <a:pt x="10254086" y="4853409"/>
                  <a:pt x="6342507" y="6216908"/>
                  <a:pt x="0" y="6029815"/>
                </a:cubicBezTo>
                <a:close/>
              </a:path>
            </a:pathLst>
          </a:custGeom>
          <a:solidFill>
            <a:schemeClr val="bg1">
              <a:lumMod val="40000"/>
              <a:lumOff val="60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a-DK" err="1"/>
              <a:t>Follow</a:t>
            </a:r>
            <a:r>
              <a:rPr lang="da-DK"/>
              <a:t> </a:t>
            </a:r>
            <a:r>
              <a:rPr lang="da-DK" err="1"/>
              <a:t>off</a:t>
            </a:r>
            <a:r>
              <a:rPr lang="da-DK"/>
              <a:t> slide guidelines to </a:t>
            </a:r>
            <a:r>
              <a:rPr lang="da-DK" err="1"/>
              <a:t>add</a:t>
            </a:r>
            <a:r>
              <a:rPr lang="da-DK"/>
              <a:t> an imag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11B7409-CD33-9609-E512-FD4382DB15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1" y="-2"/>
            <a:ext cx="9964685" cy="5405440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  <a:lvl2pPr marL="177800" indent="0">
              <a:buNone/>
              <a:defRPr sz="100"/>
            </a:lvl2pPr>
            <a:lvl3pPr marL="354013" indent="0">
              <a:buNone/>
              <a:defRPr sz="100"/>
            </a:lvl3pPr>
            <a:lvl4pPr marL="541338" indent="0">
              <a:buNone/>
              <a:defRPr sz="100"/>
            </a:lvl4pPr>
            <a:lvl5pPr marL="719137" indent="0">
              <a:buNone/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7AC2213-3BE7-F3FE-FF09-CE1E432180C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40988" y="6022975"/>
            <a:ext cx="1371600" cy="457200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A93E078C-B73B-5784-2D02-554E219240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-4762" y="1674912"/>
            <a:ext cx="12196762" cy="4381500"/>
          </a:xfrm>
          <a:blipFill dpi="0"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  <a:lvl2pPr marL="177800" indent="0">
              <a:buNone/>
              <a:defRPr/>
            </a:lvl2pPr>
            <a:lvl3pPr marL="354013" indent="0">
              <a:buNone/>
              <a:defRPr/>
            </a:lvl3pPr>
            <a:lvl4pPr marL="541338" indent="0">
              <a:buNone/>
              <a:defRPr/>
            </a:lvl4pPr>
            <a:lvl5pPr marL="71913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912619E-F3FF-9F6F-D89C-E86C27F66CA7}"/>
              </a:ext>
            </a:extLst>
          </p:cNvPr>
          <p:cNvSpPr txBox="1">
            <a:spLocks/>
          </p:cNvSpPr>
          <p:nvPr userDrawn="1"/>
        </p:nvSpPr>
        <p:spPr>
          <a:xfrm>
            <a:off x="0" y="-278763"/>
            <a:ext cx="12192000" cy="22159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D9481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 insert a new picture or replace an existing: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D9481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D9481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. Select and delete the overlay | 2. Select and delete the existing picture (if any) | 3. Click the picture icon to insert a picture | 4. Go to the Home tab in the Ribbon, and use the                 command to reapply the overlay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C0B0A9CF-13BC-D18C-AE6E-40D9E4D4E2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l="5911" t="16117" r="6404" b="15990"/>
          <a:stretch/>
        </p:blipFill>
        <p:spPr>
          <a:xfrm>
            <a:off x="8431850" y="-162532"/>
            <a:ext cx="349724" cy="110147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9D0D1466-F44B-E480-A87B-737F00DE40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4000" y="3837788"/>
            <a:ext cx="5322000" cy="221599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 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D6D4DC-CC68-7245-7F91-A5316BE13CB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3999" y="774000"/>
            <a:ext cx="5322001" cy="2659190"/>
          </a:xfrm>
        </p:spPr>
        <p:txBody>
          <a:bodyPr vert="horz" wrap="square" anchor="t">
            <a:spAutoFit/>
          </a:bodyPr>
          <a:lstStyle>
            <a:lvl1pPr algn="l"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/>
              <a:t>Title of presentation goes here</a:t>
            </a:r>
            <a:br>
              <a:rPr lang="en-US"/>
            </a:br>
            <a:r>
              <a:rPr lang="en-US"/>
              <a:t>– max 4 lines</a:t>
            </a:r>
          </a:p>
        </p:txBody>
      </p:sp>
    </p:spTree>
    <p:extLst>
      <p:ext uri="{BB962C8B-B14F-4D97-AF65-F5344CB8AC3E}">
        <p14:creationId xmlns:p14="http://schemas.microsoft.com/office/powerpoint/2010/main" val="2283140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F5C10C7-5170-AD78-4ADA-7152FB9631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9963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5C10C7-5170-AD78-4ADA-7152FB9631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7F4FE5-943A-8B39-076A-299140A7EEE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32594" y="1612706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512B7BF-CDA6-2131-3EE1-8EB698FBE1C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77825" y="1612706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3501093-CE6B-BB81-B375-E7D9CE8F70B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32768" y="2191231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F6EDBC2D-4757-71E6-F8E1-6C094D1D904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7999" y="2191231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69E2DB87-AACC-D519-4D88-E0F1FB766FC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032768" y="2769756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9CA8B757-D573-184C-E96B-EB1C0C1CEE5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77999" y="2769756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EDC5AF3-DB97-8B59-E550-9E208784D44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032768" y="3348281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BDE407C1-2FB1-C0DF-655D-F51203D4B9B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77999" y="3348281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82CE4009-2E04-88EA-F968-69B1FB532BF0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32768" y="3926806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C44B8FC9-8EDF-4392-5B8D-EEAB1DA0CA2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77999" y="3926806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26D3B2F-2A4A-E8B5-B19C-71F3A671F3F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032768" y="4505331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D79ADF2-CEE0-E15E-76EA-073F578EA56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77999" y="4505331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96D963C7-5E90-E615-B64F-A5E9C9825C7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32768" y="5083856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ED2DC26-5B11-CB4D-09BD-320EDE55F52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77999" y="5083856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63C5B919-2B5E-7F23-2E68-D087CC27F5A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032768" y="5662383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E6DC595-AC99-98A2-D7B8-E6E9ABFCB65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77999" y="5662383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9E5B05C-F228-5ABF-CC70-FCFF2A186C18}"/>
              </a:ext>
            </a:extLst>
          </p:cNvPr>
          <p:cNvSpPr>
            <a:spLocks noGrp="1"/>
          </p:cNvSpPr>
          <p:nvPr>
            <p:ph type="dt" sz="half" idx="5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7737A5AF-960B-A866-60A9-204A7E2A17B9}"/>
              </a:ext>
            </a:extLst>
          </p:cNvPr>
          <p:cNvSpPr>
            <a:spLocks noGrp="1"/>
          </p:cNvSpPr>
          <p:nvPr>
            <p:ph type="ftr" sz="quarter" idx="52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A1336740-71E0-9C14-2A1A-213D7C5555F0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A9F023-16DB-030F-35F1-18646E5BD9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Agenda title – max 1 lin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910887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2 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F5C10C7-5170-AD78-4ADA-7152FB9631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3285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5C10C7-5170-AD78-4ADA-7152FB9631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7F4FE5-943A-8B39-076A-299140A7EEE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32768" y="1608992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512B7BF-CDA6-2131-3EE1-8EB698FBE1C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77999" y="1608992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3501093-CE6B-BB81-B375-E7D9CE8F70B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32768" y="2188048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F6EDBC2D-4757-71E6-F8E1-6C094D1D904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7999" y="2188048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69E2DB87-AACC-D519-4D88-E0F1FB766FC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032768" y="2767104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9CA8B757-D573-184C-E96B-EB1C0C1CEE5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77999" y="2767104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EDC5AF3-DB97-8B59-E550-9E208784D44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032768" y="3346160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BDE407C1-2FB1-C0DF-655D-F51203D4B9B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77999" y="3346160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82CE4009-2E04-88EA-F968-69B1FB532BF0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32768" y="3925216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C44B8FC9-8EDF-4392-5B8D-EEAB1DA0CA2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77999" y="3925216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6C895D-8A93-4F04-26CA-16B138C649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6981"/>
            <a:ext cx="9745714" cy="997196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Agenda title </a:t>
            </a:r>
            <a:br>
              <a:rPr lang="en-US"/>
            </a:br>
            <a:r>
              <a:rPr lang="en-US"/>
              <a:t>– max 2 lin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26D3B2F-2A4A-E8B5-B19C-71F3A671F3F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032768" y="4504272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D79ADF2-CEE0-E15E-76EA-073F578EA56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77999" y="4504272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96D963C7-5E90-E615-B64F-A5E9C9825C7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32768" y="5083328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ED2DC26-5B11-CB4D-09BD-320EDE55F52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77999" y="5083328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63C5B919-2B5E-7F23-2E68-D087CC27F5A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032768" y="5662383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E6DC595-AC99-98A2-D7B8-E6E9ABFCB65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77999" y="5662383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C38EE55A-730F-089F-BB7D-8B2EFE428740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30066C63-BF55-6C13-7E00-9C56BBCF18FE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9CCECFB5-0325-1E4A-AEC4-3D9ABE3D326E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2313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F5C10C7-5170-AD78-4ADA-7152FB9631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9963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5C10C7-5170-AD78-4ADA-7152FB9631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7F4FE5-943A-8B39-076A-299140A7EEE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32594" y="1612706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512B7BF-CDA6-2131-3EE1-8EB698FBE1C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77825" y="1612706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3501093-CE6B-BB81-B375-E7D9CE8F70B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32768" y="2191231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F6EDBC2D-4757-71E6-F8E1-6C094D1D904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7999" y="2191231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69E2DB87-AACC-D519-4D88-E0F1FB766FC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032768" y="2769756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9CA8B757-D573-184C-E96B-EB1C0C1CEE5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77999" y="2769756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EDC5AF3-DB97-8B59-E550-9E208784D44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032768" y="3348281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BDE407C1-2FB1-C0DF-655D-F51203D4B9B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77999" y="3348281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82CE4009-2E04-88EA-F968-69B1FB532BF0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32768" y="3926806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C44B8FC9-8EDF-4392-5B8D-EEAB1DA0CA2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77999" y="3926806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26D3B2F-2A4A-E8B5-B19C-71F3A671F3F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032768" y="4505331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D79ADF2-CEE0-E15E-76EA-073F578EA56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77999" y="4505331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96D963C7-5E90-E615-B64F-A5E9C9825C7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32768" y="5083856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ED2DC26-5B11-CB4D-09BD-320EDE55F52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77999" y="5083856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63C5B919-2B5E-7F23-2E68-D087CC27F5A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032768" y="5662383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E6DC595-AC99-98A2-D7B8-E6E9ABFCB65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77999" y="5662383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9E5B05C-F228-5ABF-CC70-FCFF2A186C18}"/>
              </a:ext>
            </a:extLst>
          </p:cNvPr>
          <p:cNvSpPr>
            <a:spLocks noGrp="1"/>
          </p:cNvSpPr>
          <p:nvPr>
            <p:ph type="dt" sz="half" idx="5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7737A5AF-960B-A866-60A9-204A7E2A17B9}"/>
              </a:ext>
            </a:extLst>
          </p:cNvPr>
          <p:cNvSpPr>
            <a:spLocks noGrp="1"/>
          </p:cNvSpPr>
          <p:nvPr>
            <p:ph type="ftr" sz="quarter" idx="52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A1336740-71E0-9C14-2A1A-213D7C5555F0}"/>
              </a:ext>
            </a:extLst>
          </p:cNvPr>
          <p:cNvSpPr>
            <a:spLocks noGrp="1"/>
          </p:cNvSpPr>
          <p:nvPr>
            <p:ph type="sldNum" sz="quarter" idx="53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A9F023-16DB-030F-35F1-18646E5BD9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Agenda title – max 1 lin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426376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4639D90-19B4-6D90-A194-84482A0029DF}"/>
              </a:ext>
            </a:extLst>
          </p:cNvPr>
          <p:cNvSpPr/>
          <p:nvPr userDrawn="1"/>
        </p:nvSpPr>
        <p:spPr>
          <a:xfrm>
            <a:off x="378000" y="377825"/>
            <a:ext cx="11434588" cy="5214453"/>
          </a:xfrm>
          <a:prstGeom prst="roundRect">
            <a:avLst>
              <a:gd name="adj" fmla="val 1674"/>
            </a:avLst>
          </a:prstGeom>
          <a:solidFill>
            <a:schemeClr val="accent1"/>
          </a:solidFill>
          <a:ln>
            <a:noFill/>
          </a:ln>
        </p:spPr>
        <p:txBody>
          <a:bodyPr vert="horz" lIns="72000" tIns="72000" rIns="72000" bIns="72000" rtlCol="0" anchor="t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E2BAFC-4D76-A36D-6544-B1989581BC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6000" y="755825"/>
            <a:ext cx="10678588" cy="1329595"/>
          </a:xfrm>
        </p:spPr>
        <p:txBody>
          <a:bodyPr vert="horz" wrap="square" anchor="t">
            <a:spAutoFit/>
          </a:bodyPr>
          <a:lstStyle>
            <a:lvl1pPr algn="l"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Breaker slide heading</a:t>
            </a:r>
            <a:br>
              <a:rPr lang="en-US"/>
            </a:br>
            <a:r>
              <a:rPr lang="en-US"/>
              <a:t>– max 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E110D4-63C9-A537-C067-7B5D1B5C66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0" y="2391420"/>
            <a:ext cx="10678588" cy="221599"/>
          </a:xfrm>
        </p:spPr>
        <p:txBody>
          <a:bodyPr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32BEAA5-5CE4-732B-388B-63E6E46218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40988" y="6022975"/>
            <a:ext cx="1371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8766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F3B3845-AC8F-AFBB-9F92-1C62C51335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251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3B3845-AC8F-AFBB-9F92-1C62C51335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C17FAF-0C0E-6320-E9B3-63B9D4107B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8000" y="1603375"/>
            <a:ext cx="11436000" cy="4419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8B2E2EF-ED5F-8B6A-1754-4DF0E61C8A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854A71C-EB92-C809-E7A8-65EFA939A9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9F2FEA1-8B14-43C6-04FF-AB215443B2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E791C1B-354D-9FE8-9638-09EE2E9F3C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Master title style – max 1 lin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38EA6D-DC90-EBAB-3AB9-2BFDF18706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42433698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2 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F3B3845-AC8F-AFBB-9F92-1C62C51335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1811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3B3845-AC8F-AFBB-9F92-1C62C51335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C17FAF-0C0E-6320-E9B3-63B9D4107B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8000" y="1603375"/>
            <a:ext cx="11436000" cy="4419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8B2E2EF-ED5F-8B6A-1754-4DF0E61C8A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854A71C-EB92-C809-E7A8-65EFA939A9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9F2FEA1-8B14-43C6-04FF-AB215443B2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FFF17FE-D786-F410-2BB0-3C44F71B63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6981"/>
            <a:ext cx="9748185" cy="997196"/>
          </a:xfrm>
        </p:spPr>
        <p:txBody>
          <a:bodyPr vert="horz"/>
          <a:lstStyle/>
          <a:p>
            <a:r>
              <a:rPr lang="en-US"/>
              <a:t>Click to edit Master title style </a:t>
            </a:r>
            <a:br>
              <a:rPr lang="en-US"/>
            </a:br>
            <a:r>
              <a:rPr lang="en-US"/>
              <a:t>– max 2 line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833D0982-814E-EBAB-4B97-AE8A416B3F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22697288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6890686-6B4F-BECB-187E-7AC648A42B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8480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890686-6B4F-BECB-187E-7AC648A42B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CB26ED-843E-D2AE-A374-586D0E962E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E84D53F-FEC0-DBD1-0544-659903245A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2806721-E746-18D7-C8BA-09B564CE77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C1E90D6-970F-2085-0869-EBA8448E10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 – max 1 line</a:t>
            </a:r>
            <a:endParaRPr lang="da-DK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C2E628C-C2FE-5E42-3525-22ED9D423F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23204474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2 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6890686-6B4F-BECB-187E-7AC648A42B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151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890686-6B4F-BECB-187E-7AC648A42B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CB26ED-843E-D2AE-A374-586D0E962E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E84D53F-FEC0-DBD1-0544-659903245A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2806721-E746-18D7-C8BA-09B564CE77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8AF82C1-803A-71E4-ED2A-533957B854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6981"/>
            <a:ext cx="9748185" cy="997196"/>
          </a:xfrm>
        </p:spPr>
        <p:txBody>
          <a:bodyPr vert="horz"/>
          <a:lstStyle/>
          <a:p>
            <a:r>
              <a:rPr lang="en-US"/>
              <a:t>Click to edit Master title style </a:t>
            </a:r>
            <a:br>
              <a:rPr lang="en-US"/>
            </a:br>
            <a:r>
              <a:rPr lang="en-US"/>
              <a:t>– max 2 lines</a:t>
            </a:r>
            <a:endParaRPr lang="da-DK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AB95DF09-3266-33C0-AB43-BD612BF371F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3801094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6FA4212-80C1-3FE1-2EFD-6E3774EA44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5795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FA4212-80C1-3FE1-2EFD-6E3774EA44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F1A268-CCC7-E569-64FC-8014385BE8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8000" y="1603376"/>
            <a:ext cx="5610001" cy="4419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0FE5C3-7B86-26F4-B23D-BE1C34AF8E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002" y="1603376"/>
            <a:ext cx="5610001" cy="4419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0A7392A-1BFD-4A20-EB7C-6182DBDF1B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925EBD-E1D7-BAFA-4C89-E0E37262A8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60A7C5-91D6-CE9B-DDEB-706CB6749B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BA5ED7B-5CE6-5000-095A-688A7E0867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 – max 1 line</a:t>
            </a:r>
            <a:endParaRPr lang="da-DK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BA9F5C6-0C4E-78D9-6075-F73FF6243E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732899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3">
          <p15:clr>
            <a:srgbClr val="FBAE40"/>
          </p15:clr>
        </p15:guide>
        <p15:guide id="2" pos="3908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2 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6FA4212-80C1-3FE1-2EFD-6E3774EA44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0541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FA4212-80C1-3FE1-2EFD-6E3774EA44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F1A268-CCC7-E569-64FC-8014385BE8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8000" y="1603376"/>
            <a:ext cx="5610001" cy="4419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0FE5C3-7B86-26F4-B23D-BE1C34AF8E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4002" y="1603376"/>
            <a:ext cx="5610001" cy="4419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0A7392A-1BFD-4A20-EB7C-6182DBDF1B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925EBD-E1D7-BAFA-4C89-E0E37262A8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60A7C5-91D6-CE9B-DDEB-706CB6749B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811A864-4EDD-ED92-B603-02A7A8FC7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6981"/>
            <a:ext cx="9748185" cy="997196"/>
          </a:xfrm>
        </p:spPr>
        <p:txBody>
          <a:bodyPr vert="horz"/>
          <a:lstStyle/>
          <a:p>
            <a:r>
              <a:rPr lang="en-US"/>
              <a:t>Click to edit Master title style </a:t>
            </a:r>
            <a:br>
              <a:rPr lang="en-US"/>
            </a:br>
            <a:r>
              <a:rPr lang="en-US"/>
              <a:t>– max 2 lines</a:t>
            </a:r>
            <a:endParaRPr lang="da-DK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FE93F37-EE49-65CB-DDCC-E81E0313B2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3394720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3">
          <p15:clr>
            <a:srgbClr val="FBAE40"/>
          </p15:clr>
        </p15:guide>
        <p15:guide id="2" pos="3908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3D65A5A-0C59-A6FC-CAD9-B6A434D8D0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690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D65A5A-0C59-A6FC-CAD9-B6A434D8D0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1AB0E1-A7D5-9A1D-E12F-D7A6BC7B123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8000" y="1605591"/>
            <a:ext cx="5608139" cy="221599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180795-417C-516B-E92C-FD8EB782CF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7999" y="2017870"/>
            <a:ext cx="5608140" cy="40051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330EBF5-9EC9-949E-33F2-706D37BD2ADA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02142" y="1605591"/>
            <a:ext cx="5608140" cy="221599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01853D4-5584-F905-AAA9-9E4B306CEE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02141" y="2017869"/>
            <a:ext cx="5608140" cy="400510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FE6327-8397-B879-AFE5-DB860CCD23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3DF383D-B6F4-524C-0078-C9F12C85FF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6CAEA40-2A2A-3C6E-1604-BC9FBD750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F5248A2-9D3A-906E-C42F-2890C550AF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 – max 1 line</a:t>
            </a:r>
            <a:endParaRPr lang="da-DK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7AF7775-4AFD-6A16-399E-5A4DCFAFCCF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2703133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06">
          <p15:clr>
            <a:srgbClr val="FBAE40"/>
          </p15:clr>
        </p15:guide>
        <p15:guide id="2" pos="377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(2 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3D65A5A-0C59-A6FC-CAD9-B6A434D8D0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0775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D65A5A-0C59-A6FC-CAD9-B6A434D8D0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1AB0E1-A7D5-9A1D-E12F-D7A6BC7B123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8000" y="1603375"/>
            <a:ext cx="5608139" cy="221599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180795-417C-516B-E92C-FD8EB782CF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7999" y="2015654"/>
            <a:ext cx="5608140" cy="40073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330EBF5-9EC9-949E-33F2-706D37BD2ADA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02142" y="1603375"/>
            <a:ext cx="5608140" cy="221599"/>
          </a:xfrm>
        </p:spPr>
        <p:txBody>
          <a:bodyPr wrap="square" anchor="t">
            <a:spAutoFit/>
          </a:bodyPr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01853D4-5584-F905-AAA9-9E4B306CEE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02141" y="2015653"/>
            <a:ext cx="5608140" cy="400732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FE6327-8397-B879-AFE5-DB860CCD23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3DF383D-B6F4-524C-0078-C9F12C85FF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6CAEA40-2A2A-3C6E-1604-BC9FBD750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EA58F27-D04F-4EAE-5198-6170ABD925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6981"/>
            <a:ext cx="9748185" cy="997196"/>
          </a:xfrm>
        </p:spPr>
        <p:txBody>
          <a:bodyPr vert="horz"/>
          <a:lstStyle/>
          <a:p>
            <a:r>
              <a:rPr lang="en-US"/>
              <a:t>Click to edit Master title style </a:t>
            </a:r>
            <a:br>
              <a:rPr lang="en-US"/>
            </a:br>
            <a:r>
              <a:rPr lang="en-US"/>
              <a:t>– max 2 lines</a:t>
            </a:r>
            <a:endParaRPr lang="da-DK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04C474C-2B7E-DF50-356A-C8ACC5266C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2922318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06">
          <p15:clr>
            <a:srgbClr val="FBAE40"/>
          </p15:clr>
        </p15:guide>
        <p15:guide id="2" pos="377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3DD8046-CFDD-F96A-0F8C-01D629128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7860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DD8046-CFDD-F96A-0F8C-01D629128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B4CEF78-5484-406D-D06C-9698FC4F27C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77999" y="1604717"/>
            <a:ext cx="3668400" cy="221599"/>
          </a:xfrm>
        </p:spPr>
        <p:txBody>
          <a:bodyPr anchor="t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5172591B-5908-769B-244D-B2876DE6D6F0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77998" y="2018259"/>
            <a:ext cx="3668530" cy="40047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8C05DE2-3BD5-D4F5-982E-490BB499DB8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62528" y="1604717"/>
            <a:ext cx="3668400" cy="221599"/>
          </a:xfrm>
        </p:spPr>
        <p:txBody>
          <a:bodyPr anchor="t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BAE2078E-D57B-524E-6DCB-FB6F5A720ED5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4262529" y="2018259"/>
            <a:ext cx="3668530" cy="40047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EEB7E20-98D2-E4B2-D759-798FCBB316F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43876" y="1604717"/>
            <a:ext cx="3692526" cy="221599"/>
          </a:xfrm>
        </p:spPr>
        <p:txBody>
          <a:bodyPr anchor="t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3AB3F494-6342-ED15-BC0B-2B36C3F19648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8147058" y="2018259"/>
            <a:ext cx="3668530" cy="400471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5CDEEE4C-A77B-E721-7B64-1224D7C113DA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DBDE4289-6BCF-5929-EC85-1DF7F48014F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FD37D8C6-EB9F-1794-0CA8-C1594C9B7604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2EA0E70-6A45-0A02-D479-12A22EB20A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 – max 1 line</a:t>
            </a:r>
            <a:endParaRPr lang="da-DK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103D61AC-6704-7E60-14A0-6C0DAFD3B2E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3314124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49">
          <p15:clr>
            <a:srgbClr val="FBAE40"/>
          </p15:clr>
        </p15:guide>
        <p15:guide id="2" pos="2684">
          <p15:clr>
            <a:srgbClr val="FBAE40"/>
          </p15:clr>
        </p15:guide>
        <p15:guide id="3" pos="4997">
          <p15:clr>
            <a:srgbClr val="FBAE40"/>
          </p15:clr>
        </p15:guide>
        <p15:guide id="4" pos="513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2 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F5C10C7-5170-AD78-4ADA-7152FB9631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3285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5C10C7-5170-AD78-4ADA-7152FB9631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7F4FE5-943A-8B39-076A-299140A7EEE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032768" y="1608992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512B7BF-CDA6-2131-3EE1-8EB698FBE1C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77999" y="1608992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3501093-CE6B-BB81-B375-E7D9CE8F70B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032768" y="2188048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F6EDBC2D-4757-71E6-F8E1-6C094D1D904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7999" y="2188048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69E2DB87-AACC-D519-4D88-E0F1FB766FC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032768" y="2767104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9CA8B757-D573-184C-E96B-EB1C0C1CEE5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77999" y="2767104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EDC5AF3-DB97-8B59-E550-9E208784D44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032768" y="3346160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BDE407C1-2FB1-C0DF-655D-F51203D4B9B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77999" y="3346160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82CE4009-2E04-88EA-F968-69B1FB532BF0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032768" y="3925216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C44B8FC9-8EDF-4392-5B8D-EEAB1DA0CA2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77999" y="3925216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6C895D-8A93-4F04-26CA-16B138C649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6981"/>
            <a:ext cx="9745714" cy="997196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Agenda title </a:t>
            </a:r>
            <a:br>
              <a:rPr lang="en-US"/>
            </a:br>
            <a:r>
              <a:rPr lang="en-US"/>
              <a:t>– max 2 lin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26D3B2F-2A4A-E8B5-B19C-71F3A671F3F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032768" y="4504272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D79ADF2-CEE0-E15E-76EA-073F578EA56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77999" y="4504272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96D963C7-5E90-E615-B64F-A5E9C9825C74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032768" y="5083328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ED2DC26-5B11-CB4D-09BD-320EDE55F52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77999" y="5083328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63C5B919-2B5E-7F23-2E68-D087CC27F5A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032768" y="5662383"/>
            <a:ext cx="10779820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E6DC595-AC99-98A2-D7B8-E6E9ABFCB65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77999" y="5662383"/>
            <a:ext cx="438769" cy="360099"/>
          </a:xfrm>
        </p:spPr>
        <p:txBody>
          <a:bodyPr wrap="square">
            <a:spAutoFit/>
          </a:bodyPr>
          <a:lstStyle>
            <a:lvl1pPr marL="0" indent="0">
              <a:buNone/>
              <a:defRPr sz="26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C38EE55A-730F-089F-BB7D-8B2EFE428740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30066C63-BF55-6C13-7E00-9C56BBCF18FE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9CCECFB5-0325-1E4A-AEC4-3D9ABE3D326E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61054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 layout (2 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3DD8046-CFDD-F96A-0F8C-01D629128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027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DD8046-CFDD-F96A-0F8C-01D629128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B4CEF78-5484-406D-D06C-9698FC4F27C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77999" y="1603375"/>
            <a:ext cx="3668400" cy="221599"/>
          </a:xfrm>
        </p:spPr>
        <p:txBody>
          <a:bodyPr anchor="t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5172591B-5908-769B-244D-B2876DE6D6F0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77998" y="2016917"/>
            <a:ext cx="3668530" cy="400605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8C05DE2-3BD5-D4F5-982E-490BB499DB8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62528" y="1603375"/>
            <a:ext cx="3668400" cy="221599"/>
          </a:xfrm>
        </p:spPr>
        <p:txBody>
          <a:bodyPr anchor="t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BAE2078E-D57B-524E-6DCB-FB6F5A720ED5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4262529" y="2016917"/>
            <a:ext cx="3668530" cy="400605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EEB7E20-98D2-E4B2-D759-798FCBB316F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43876" y="1603375"/>
            <a:ext cx="3692526" cy="221599"/>
          </a:xfrm>
        </p:spPr>
        <p:txBody>
          <a:bodyPr anchor="t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3AB3F494-6342-ED15-BC0B-2B36C3F19648}"/>
              </a:ext>
            </a:extLst>
          </p:cNvPr>
          <p:cNvSpPr>
            <a:spLocks noGrp="1"/>
          </p:cNvSpPr>
          <p:nvPr>
            <p:ph sz="quarter" idx="33"/>
          </p:nvPr>
        </p:nvSpPr>
        <p:spPr>
          <a:xfrm>
            <a:off x="8147058" y="2016917"/>
            <a:ext cx="3668530" cy="400605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5CDEEE4C-A77B-E721-7B64-1224D7C113DA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DBDE4289-6BCF-5929-EC85-1DF7F48014F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FD37D8C6-EB9F-1794-0CA8-C1594C9B7604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4B576B2-307E-E9F9-3574-1B9D3D9D0D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6981"/>
            <a:ext cx="9748185" cy="997196"/>
          </a:xfrm>
        </p:spPr>
        <p:txBody>
          <a:bodyPr vert="horz"/>
          <a:lstStyle/>
          <a:p>
            <a:r>
              <a:rPr lang="en-US"/>
              <a:t>Click to edit Master title style </a:t>
            </a:r>
            <a:br>
              <a:rPr lang="en-US"/>
            </a:br>
            <a:r>
              <a:rPr lang="en-US"/>
              <a:t>– max 2 lines</a:t>
            </a:r>
            <a:endParaRPr lang="da-DK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366DCE1-8F9D-16DD-C877-5569A95A0D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516462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49">
          <p15:clr>
            <a:srgbClr val="FBAE40"/>
          </p15:clr>
        </p15:guide>
        <p15:guide id="2" pos="2684">
          <p15:clr>
            <a:srgbClr val="FBAE40"/>
          </p15:clr>
        </p15:guide>
        <p15:guide id="3" pos="4997">
          <p15:clr>
            <a:srgbClr val="FBAE40"/>
          </p15:clr>
        </p15:guide>
        <p15:guide id="4" pos="513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- mørkeblå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8C6C9F6-A65D-2C59-C7E7-EC5F1B7C59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825" y="3059297"/>
            <a:ext cx="11434763" cy="498598"/>
          </a:xfrm>
        </p:spPr>
        <p:txBody>
          <a:bodyPr wrap="square" anchor="b">
            <a:spAutoFit/>
          </a:bodyPr>
          <a:lstStyle>
            <a:lvl1pPr marL="0" indent="0">
              <a:buNone/>
              <a:defRPr sz="3600">
                <a:latin typeface="+mj-lt"/>
              </a:defRPr>
            </a:lvl1pPr>
          </a:lstStyle>
          <a:p>
            <a:pPr lvl="0"/>
            <a:r>
              <a:rPr lang="en-US"/>
              <a:t>“Add quote here”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C909C99-E48F-E402-F682-A06E929512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7824" y="3863895"/>
            <a:ext cx="11434763" cy="246221"/>
          </a:xfrm>
        </p:spPr>
        <p:txBody>
          <a:bodyPr>
            <a:noAutofit/>
          </a:bodyPr>
          <a:lstStyle>
            <a:lvl1pPr marL="0" indent="0">
              <a:buNone/>
              <a:defRPr>
                <a:latin typeface="+mj-lt"/>
              </a:defRPr>
            </a:lvl1pPr>
          </a:lstStyle>
          <a:p>
            <a:pPr lvl="0"/>
            <a:r>
              <a:rPr lang="en-US"/>
              <a:t>Name Surname / Description</a:t>
            </a:r>
          </a:p>
        </p:txBody>
      </p:sp>
    </p:spTree>
    <p:extLst>
      <p:ext uri="{BB962C8B-B14F-4D97-AF65-F5344CB8AC3E}">
        <p14:creationId xmlns:p14="http://schemas.microsoft.com/office/powerpoint/2010/main" val="30702335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3774D0D-BA46-E7C2-DE2F-BF607B17B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9906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774D0D-BA46-E7C2-DE2F-BF607B17B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F06604B6-D107-1644-CF23-701ECC214419}"/>
              </a:ext>
            </a:extLst>
          </p:cNvPr>
          <p:cNvSpPr>
            <a:spLocks noGrp="1"/>
          </p:cNvSpPr>
          <p:nvPr userDrawn="1">
            <p:ph type="pic" sz="quarter" idx="16"/>
          </p:nvPr>
        </p:nvSpPr>
        <p:spPr>
          <a:xfrm>
            <a:off x="378000" y="1614682"/>
            <a:ext cx="5609294" cy="440968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A9172317-E013-8CB7-2920-514CED74B41E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03294" y="1614682"/>
            <a:ext cx="5609294" cy="221599"/>
          </a:xfrm>
        </p:spPr>
        <p:txBody>
          <a:bodyPr anchor="b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C8919B88-6CFA-2516-EAA4-BD1E85261891}"/>
              </a:ext>
            </a:extLst>
          </p:cNvPr>
          <p:cNvSpPr>
            <a:spLocks noGrp="1"/>
          </p:cNvSpPr>
          <p:nvPr>
            <p:ph sz="quarter" idx="71"/>
          </p:nvPr>
        </p:nvSpPr>
        <p:spPr>
          <a:xfrm>
            <a:off x="6203293" y="2026956"/>
            <a:ext cx="5609294" cy="39974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4DB6E08-4E97-FC93-FB22-B7AFC50B7622}"/>
              </a:ext>
            </a:extLst>
          </p:cNvPr>
          <p:cNvSpPr>
            <a:spLocks noGrp="1"/>
          </p:cNvSpPr>
          <p:nvPr>
            <p:ph type="dt" sz="half" idx="7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E7DD8D5-5732-1105-63C7-C26DB483E855}"/>
              </a:ext>
            </a:extLst>
          </p:cNvPr>
          <p:cNvSpPr>
            <a:spLocks noGrp="1"/>
          </p:cNvSpPr>
          <p:nvPr>
            <p:ph type="ftr" sz="quarter" idx="73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E8EB675-C54E-08D4-33B0-D3B46F43AF68}"/>
              </a:ext>
            </a:extLst>
          </p:cNvPr>
          <p:cNvSpPr>
            <a:spLocks noGrp="1"/>
          </p:cNvSpPr>
          <p:nvPr>
            <p:ph type="sldNum" sz="quarter" idx="74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0836FB6-1E6A-6711-D93D-EA061E5C9A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 – max 1 line</a:t>
            </a:r>
            <a:endParaRPr lang="da-DK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9D053DC7-B71C-B209-D633-5FFFC0FC030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2184788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1">
          <p15:clr>
            <a:srgbClr val="FBAE40"/>
          </p15:clr>
        </p15:guide>
        <p15:guide id="2" pos="39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(2 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3774D0D-BA46-E7C2-DE2F-BF607B17B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3911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774D0D-BA46-E7C2-DE2F-BF607B17B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F06604B6-D107-1644-CF23-701ECC214419}"/>
              </a:ext>
            </a:extLst>
          </p:cNvPr>
          <p:cNvSpPr>
            <a:spLocks noGrp="1"/>
          </p:cNvSpPr>
          <p:nvPr userDrawn="1">
            <p:ph type="pic" sz="quarter" idx="16"/>
          </p:nvPr>
        </p:nvSpPr>
        <p:spPr>
          <a:xfrm>
            <a:off x="378000" y="1603375"/>
            <a:ext cx="5609294" cy="442098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A9172317-E013-8CB7-2920-514CED74B41E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03294" y="1612706"/>
            <a:ext cx="5609294" cy="221599"/>
          </a:xfrm>
        </p:spPr>
        <p:txBody>
          <a:bodyPr anchor="b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C8919B88-6CFA-2516-EAA4-BD1E85261891}"/>
              </a:ext>
            </a:extLst>
          </p:cNvPr>
          <p:cNvSpPr>
            <a:spLocks noGrp="1"/>
          </p:cNvSpPr>
          <p:nvPr>
            <p:ph sz="quarter" idx="71"/>
          </p:nvPr>
        </p:nvSpPr>
        <p:spPr>
          <a:xfrm>
            <a:off x="6203293" y="2024981"/>
            <a:ext cx="5609294" cy="399938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4DB6E08-4E97-FC93-FB22-B7AFC50B7622}"/>
              </a:ext>
            </a:extLst>
          </p:cNvPr>
          <p:cNvSpPr>
            <a:spLocks noGrp="1"/>
          </p:cNvSpPr>
          <p:nvPr>
            <p:ph type="dt" sz="half" idx="7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E7DD8D5-5732-1105-63C7-C26DB483E855}"/>
              </a:ext>
            </a:extLst>
          </p:cNvPr>
          <p:cNvSpPr>
            <a:spLocks noGrp="1"/>
          </p:cNvSpPr>
          <p:nvPr>
            <p:ph type="ftr" sz="quarter" idx="73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E8EB675-C54E-08D4-33B0-D3B46F43AF68}"/>
              </a:ext>
            </a:extLst>
          </p:cNvPr>
          <p:cNvSpPr>
            <a:spLocks noGrp="1"/>
          </p:cNvSpPr>
          <p:nvPr>
            <p:ph type="sldNum" sz="quarter" idx="74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704D95-337B-31E1-FC7F-FEAF33CF7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6981"/>
            <a:ext cx="9748185" cy="997196"/>
          </a:xfrm>
        </p:spPr>
        <p:txBody>
          <a:bodyPr vert="horz"/>
          <a:lstStyle/>
          <a:p>
            <a:r>
              <a:rPr lang="en-US"/>
              <a:t>Click to edit Master title style </a:t>
            </a:r>
            <a:br>
              <a:rPr lang="en-US"/>
            </a:br>
            <a:r>
              <a:rPr lang="en-US"/>
              <a:t>– max 2 lines</a:t>
            </a:r>
            <a:endParaRPr lang="da-DK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64B6B75E-9980-5C46-FA0E-76B533562E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2262579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1">
          <p15:clr>
            <a:srgbClr val="FBAE40"/>
          </p15:clr>
        </p15:guide>
        <p15:guide id="2" pos="39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6C9066A-07C2-91C6-23C9-D154E33030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7125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C9066A-07C2-91C6-23C9-D154E3303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F06604B6-D107-1644-CF23-701ECC214419}"/>
              </a:ext>
            </a:extLst>
          </p:cNvPr>
          <p:cNvSpPr>
            <a:spLocks noGrp="1"/>
          </p:cNvSpPr>
          <p:nvPr userDrawn="1">
            <p:ph type="pic" sz="quarter" idx="16"/>
          </p:nvPr>
        </p:nvSpPr>
        <p:spPr>
          <a:xfrm>
            <a:off x="6203293" y="1607201"/>
            <a:ext cx="5609294" cy="4415774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F43E8AB-48A5-8C94-C561-635C7187EB2C}"/>
              </a:ext>
            </a:extLst>
          </p:cNvPr>
          <p:cNvSpPr>
            <a:spLocks noGrp="1"/>
          </p:cNvSpPr>
          <p:nvPr>
            <p:ph sz="quarter" idx="76"/>
          </p:nvPr>
        </p:nvSpPr>
        <p:spPr>
          <a:xfrm>
            <a:off x="378000" y="2019475"/>
            <a:ext cx="5609294" cy="4003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F76134A-8249-4E3A-4A27-AE44663970A5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78001" y="1607200"/>
            <a:ext cx="5609294" cy="221599"/>
          </a:xfrm>
        </p:spPr>
        <p:txBody>
          <a:bodyPr anchor="b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7281E7F-6527-1B51-C368-CD6C83E8F98E}"/>
              </a:ext>
            </a:extLst>
          </p:cNvPr>
          <p:cNvSpPr>
            <a:spLocks noGrp="1"/>
          </p:cNvSpPr>
          <p:nvPr>
            <p:ph type="dt" sz="half" idx="7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9574714-2973-7C19-7E14-539D054DE7AF}"/>
              </a:ext>
            </a:extLst>
          </p:cNvPr>
          <p:cNvSpPr>
            <a:spLocks noGrp="1"/>
          </p:cNvSpPr>
          <p:nvPr>
            <p:ph type="ftr" sz="quarter" idx="78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7F938A7-D8F9-B58E-7D9A-A9871613C7C8}"/>
              </a:ext>
            </a:extLst>
          </p:cNvPr>
          <p:cNvSpPr>
            <a:spLocks noGrp="1"/>
          </p:cNvSpPr>
          <p:nvPr>
            <p:ph type="sldNum" sz="quarter" idx="79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56F25F0-A934-1110-77C2-A75753C6D1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 – max 1 line</a:t>
            </a:r>
            <a:endParaRPr lang="da-DK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64D0D940-F588-0AC4-01F2-FA5A43E3FDC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4105213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1">
          <p15:clr>
            <a:srgbClr val="FBAE40"/>
          </p15:clr>
        </p15:guide>
        <p15:guide id="2" pos="390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 (2 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6C9066A-07C2-91C6-23C9-D154E33030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5272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C9066A-07C2-91C6-23C9-D154E3303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F06604B6-D107-1644-CF23-701ECC214419}"/>
              </a:ext>
            </a:extLst>
          </p:cNvPr>
          <p:cNvSpPr>
            <a:spLocks noGrp="1"/>
          </p:cNvSpPr>
          <p:nvPr userDrawn="1">
            <p:ph type="pic" sz="quarter" idx="16"/>
          </p:nvPr>
        </p:nvSpPr>
        <p:spPr>
          <a:xfrm>
            <a:off x="6203293" y="1605027"/>
            <a:ext cx="5609294" cy="4417947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F43E8AB-48A5-8C94-C561-635C7187EB2C}"/>
              </a:ext>
            </a:extLst>
          </p:cNvPr>
          <p:cNvSpPr>
            <a:spLocks noGrp="1"/>
          </p:cNvSpPr>
          <p:nvPr>
            <p:ph sz="quarter" idx="76"/>
          </p:nvPr>
        </p:nvSpPr>
        <p:spPr>
          <a:xfrm>
            <a:off x="378000" y="2017302"/>
            <a:ext cx="5609294" cy="40056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F76134A-8249-4E3A-4A27-AE44663970A5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78001" y="1605027"/>
            <a:ext cx="5609294" cy="221599"/>
          </a:xfrm>
        </p:spPr>
        <p:txBody>
          <a:bodyPr anchor="b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7281E7F-6527-1B51-C368-CD6C83E8F98E}"/>
              </a:ext>
            </a:extLst>
          </p:cNvPr>
          <p:cNvSpPr>
            <a:spLocks noGrp="1"/>
          </p:cNvSpPr>
          <p:nvPr>
            <p:ph type="dt" sz="half" idx="7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9574714-2973-7C19-7E14-539D054DE7AF}"/>
              </a:ext>
            </a:extLst>
          </p:cNvPr>
          <p:cNvSpPr>
            <a:spLocks noGrp="1"/>
          </p:cNvSpPr>
          <p:nvPr>
            <p:ph type="ftr" sz="quarter" idx="78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7F938A7-D8F9-B58E-7D9A-A9871613C7C8}"/>
              </a:ext>
            </a:extLst>
          </p:cNvPr>
          <p:cNvSpPr>
            <a:spLocks noGrp="1"/>
          </p:cNvSpPr>
          <p:nvPr>
            <p:ph type="sldNum" sz="quarter" idx="79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7657BFBF-39BD-A052-C89C-AE095C4569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6981"/>
            <a:ext cx="9748185" cy="997196"/>
          </a:xfrm>
        </p:spPr>
        <p:txBody>
          <a:bodyPr vert="horz"/>
          <a:lstStyle/>
          <a:p>
            <a:r>
              <a:rPr lang="en-US"/>
              <a:t>Click to edit Master title style </a:t>
            </a:r>
            <a:br>
              <a:rPr lang="en-US"/>
            </a:br>
            <a:r>
              <a:rPr lang="en-US"/>
              <a:t>– max 2 lines</a:t>
            </a:r>
            <a:endParaRPr lang="da-DK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6B8266EA-6831-8DD8-1161-25ACA5659BF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2322503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1">
          <p15:clr>
            <a:srgbClr val="FBAE40"/>
          </p15:clr>
        </p15:guide>
        <p15:guide id="2" pos="390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F64A07B-B98F-F2E7-FF9B-98C8D9DBD5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3763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64A07B-B98F-F2E7-FF9B-98C8D9DBD5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F06604B6-D107-1644-CF23-701ECC214419}"/>
              </a:ext>
            </a:extLst>
          </p:cNvPr>
          <p:cNvSpPr>
            <a:spLocks noGrp="1"/>
          </p:cNvSpPr>
          <p:nvPr userDrawn="1">
            <p:ph type="pic" sz="quarter" idx="16"/>
          </p:nvPr>
        </p:nvSpPr>
        <p:spPr>
          <a:xfrm>
            <a:off x="6203292" y="0"/>
            <a:ext cx="5988707" cy="685799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F43E8AB-48A5-8C94-C561-635C7187EB2C}"/>
              </a:ext>
            </a:extLst>
          </p:cNvPr>
          <p:cNvSpPr>
            <a:spLocks noGrp="1"/>
          </p:cNvSpPr>
          <p:nvPr>
            <p:ph sz="quarter" idx="76"/>
          </p:nvPr>
        </p:nvSpPr>
        <p:spPr>
          <a:xfrm>
            <a:off x="378000" y="2016435"/>
            <a:ext cx="5609294" cy="40065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83A956A-4618-34DD-1342-6AB706DB2F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6981"/>
            <a:ext cx="5609294" cy="498598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title–max 1 lin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F76134A-8249-4E3A-4A27-AE44663970A5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78001" y="1606541"/>
            <a:ext cx="5609294" cy="221599"/>
          </a:xfrm>
        </p:spPr>
        <p:txBody>
          <a:bodyPr anchor="b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7281E7F-6527-1B51-C368-CD6C83E8F98E}"/>
              </a:ext>
            </a:extLst>
          </p:cNvPr>
          <p:cNvSpPr>
            <a:spLocks noGrp="1"/>
          </p:cNvSpPr>
          <p:nvPr>
            <p:ph type="dt" sz="half" idx="7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9574714-2973-7C19-7E14-539D054DE7AF}"/>
              </a:ext>
            </a:extLst>
          </p:cNvPr>
          <p:cNvSpPr>
            <a:spLocks noGrp="1"/>
          </p:cNvSpPr>
          <p:nvPr>
            <p:ph type="ftr" sz="quarter" idx="78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7F938A7-D8F9-B58E-7D9A-A9871613C7C8}"/>
              </a:ext>
            </a:extLst>
          </p:cNvPr>
          <p:cNvSpPr>
            <a:spLocks noGrp="1"/>
          </p:cNvSpPr>
          <p:nvPr>
            <p:ph type="sldNum" sz="quarter" idx="79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AAC3C307-082C-BADA-C54E-A2668E0C08C2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10349143" y="-165409"/>
            <a:ext cx="1647854" cy="107694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F1AB1B9F-BA64-58A8-6F3D-53BEB981087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5609293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3588216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1">
          <p15:clr>
            <a:srgbClr val="FBAE40"/>
          </p15:clr>
        </p15:guide>
        <p15:guide id="2" pos="3906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half (2 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F64A07B-B98F-F2E7-FF9B-98C8D9DBD5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5513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64A07B-B98F-F2E7-FF9B-98C8D9DBD5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F06604B6-D107-1644-CF23-701ECC214419}"/>
              </a:ext>
            </a:extLst>
          </p:cNvPr>
          <p:cNvSpPr>
            <a:spLocks noGrp="1"/>
          </p:cNvSpPr>
          <p:nvPr userDrawn="1">
            <p:ph type="pic" sz="quarter" idx="16"/>
          </p:nvPr>
        </p:nvSpPr>
        <p:spPr>
          <a:xfrm>
            <a:off x="6203292" y="0"/>
            <a:ext cx="5988707" cy="6857999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9F43E8AB-48A5-8C94-C561-635C7187EB2C}"/>
              </a:ext>
            </a:extLst>
          </p:cNvPr>
          <p:cNvSpPr>
            <a:spLocks noGrp="1"/>
          </p:cNvSpPr>
          <p:nvPr>
            <p:ph sz="quarter" idx="76"/>
          </p:nvPr>
        </p:nvSpPr>
        <p:spPr>
          <a:xfrm>
            <a:off x="378000" y="2022599"/>
            <a:ext cx="5609294" cy="40003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83A956A-4618-34DD-1342-6AB706DB2F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6981"/>
            <a:ext cx="5609294" cy="997196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title</a:t>
            </a:r>
            <a:br>
              <a:rPr lang="en-US"/>
            </a:br>
            <a:r>
              <a:rPr lang="en-US"/>
              <a:t>– max 2 lin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F76134A-8249-4E3A-4A27-AE44663970A5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378001" y="1612706"/>
            <a:ext cx="5609294" cy="221599"/>
          </a:xfrm>
        </p:spPr>
        <p:txBody>
          <a:bodyPr anchor="b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ext styles – max 1 lin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7281E7F-6527-1B51-C368-CD6C83E8F98E}"/>
              </a:ext>
            </a:extLst>
          </p:cNvPr>
          <p:cNvSpPr>
            <a:spLocks noGrp="1"/>
          </p:cNvSpPr>
          <p:nvPr>
            <p:ph type="dt" sz="half" idx="7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9574714-2973-7C19-7E14-539D054DE7AF}"/>
              </a:ext>
            </a:extLst>
          </p:cNvPr>
          <p:cNvSpPr>
            <a:spLocks noGrp="1"/>
          </p:cNvSpPr>
          <p:nvPr>
            <p:ph type="ftr" sz="quarter" idx="78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7F938A7-D8F9-B58E-7D9A-A9871613C7C8}"/>
              </a:ext>
            </a:extLst>
          </p:cNvPr>
          <p:cNvSpPr>
            <a:spLocks noGrp="1"/>
          </p:cNvSpPr>
          <p:nvPr>
            <p:ph type="sldNum" sz="quarter" idx="79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1F6E67BB-4628-33B7-6F09-0DEE9F349372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10349143" y="-165409"/>
            <a:ext cx="1647854" cy="1076944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A6FE3F5B-A139-B503-7ACD-672D3917129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5609293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4270433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1">
          <p15:clr>
            <a:srgbClr val="FBAE40"/>
          </p15:clr>
        </p15:guide>
        <p15:guide id="2" pos="390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">
            <a:extLst>
              <a:ext uri="{FF2B5EF4-FFF2-40B4-BE49-F238E27FC236}">
                <a16:creationId xmlns:a16="http://schemas.microsoft.com/office/drawing/2014/main" id="{AF251672-BBF7-200D-2BCF-6EF86B632D5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142237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1663B5DC-27A3-8069-0504-95075B68F41D}"/>
              </a:ext>
            </a:extLst>
          </p:cNvPr>
          <p:cNvSpPr/>
          <p:nvPr userDrawn="1"/>
        </p:nvSpPr>
        <p:spPr>
          <a:xfrm>
            <a:off x="378000" y="377825"/>
            <a:ext cx="11434588" cy="5214453"/>
          </a:xfrm>
          <a:prstGeom prst="roundRect">
            <a:avLst>
              <a:gd name="adj" fmla="val 1674"/>
            </a:avLst>
          </a:prstGeom>
          <a:solidFill>
            <a:schemeClr val="accent1"/>
          </a:solidFill>
          <a:ln>
            <a:noFill/>
          </a:ln>
        </p:spPr>
        <p:txBody>
          <a:bodyPr vert="horz" lIns="72000" tIns="72000" rIns="72000" bIns="72000" rtlCol="0" anchor="t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6DA447A-1F2C-CC34-525B-F0495A54F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6000" y="2680352"/>
            <a:ext cx="4064000" cy="609398"/>
          </a:xfr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177800" indent="0">
              <a:buNone/>
              <a:defRPr>
                <a:solidFill>
                  <a:schemeClr val="bg1"/>
                </a:solidFill>
              </a:defRPr>
            </a:lvl2pPr>
            <a:lvl3pPr marL="354013" indent="0">
              <a:buNone/>
              <a:defRPr>
                <a:solidFill>
                  <a:schemeClr val="bg1"/>
                </a:solidFill>
              </a:defRPr>
            </a:lvl3pPr>
            <a:lvl4pPr marL="541338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ank you.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FD8489F-3F1E-D40E-FF92-833D6F5328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40988" y="6022975"/>
            <a:ext cx="1371600" cy="457200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1541AB8-50A1-E991-BAB0-C2717AE035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6000" y="3502631"/>
            <a:ext cx="4064000" cy="193899"/>
          </a:xfr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0" i="0" u="none" strike="noStrike" baseline="0">
                <a:solidFill>
                  <a:schemeClr val="bg1">
                    <a:lumMod val="100000"/>
                  </a:schemeClr>
                </a:solidFill>
                <a:latin typeface="+mn-lt"/>
              </a:defRPr>
            </a:lvl1pPr>
            <a:lvl2pPr marL="177800" indent="0">
              <a:buNone/>
              <a:defRPr>
                <a:solidFill>
                  <a:schemeClr val="bg1"/>
                </a:solidFill>
              </a:defRPr>
            </a:lvl2pPr>
            <a:lvl3pPr marL="354013" indent="0">
              <a:buNone/>
              <a:defRPr>
                <a:solidFill>
                  <a:schemeClr val="bg1"/>
                </a:solidFill>
              </a:defRPr>
            </a:lvl3pPr>
            <a:lvl4pPr marL="541338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7835234-165D-13FB-F897-D6DED4648F0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6000" y="3800430"/>
            <a:ext cx="4064000" cy="193899"/>
          </a:xfr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0" i="0" u="none" strike="noStrike" baseline="0">
                <a:solidFill>
                  <a:schemeClr val="bg1">
                    <a:lumMod val="100000"/>
                  </a:schemeClr>
                </a:solidFill>
                <a:latin typeface="+mn-lt"/>
              </a:defRPr>
            </a:lvl1pPr>
            <a:lvl2pPr marL="177800" indent="0">
              <a:buNone/>
              <a:defRPr>
                <a:solidFill>
                  <a:schemeClr val="bg1"/>
                </a:solidFill>
              </a:defRPr>
            </a:lvl2pPr>
            <a:lvl3pPr marL="354013" indent="0">
              <a:buNone/>
              <a:defRPr>
                <a:solidFill>
                  <a:schemeClr val="bg1"/>
                </a:solidFill>
              </a:defRPr>
            </a:lvl3pPr>
            <a:lvl4pPr marL="541338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B6E3C50-D186-6B30-08C4-C9A73EA319A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6000" y="4098229"/>
            <a:ext cx="4064000" cy="193899"/>
          </a:xfr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0" i="0" u="none" strike="noStrike" baseline="0">
                <a:solidFill>
                  <a:schemeClr val="bg1">
                    <a:lumMod val="100000"/>
                  </a:schemeClr>
                </a:solidFill>
                <a:latin typeface="+mn-lt"/>
              </a:defRPr>
            </a:lvl1pPr>
            <a:lvl2pPr marL="177800" indent="0">
              <a:buNone/>
              <a:defRPr>
                <a:solidFill>
                  <a:schemeClr val="bg1"/>
                </a:solidFill>
              </a:defRPr>
            </a:lvl2pPr>
            <a:lvl3pPr marL="354013" indent="0">
              <a:buNone/>
              <a:defRPr>
                <a:solidFill>
                  <a:schemeClr val="bg1"/>
                </a:solidFill>
              </a:defRPr>
            </a:lvl3pPr>
            <a:lvl4pPr marL="541338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82A8823E-1E29-F3CE-7057-950A905B47A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56000" y="4396028"/>
            <a:ext cx="4064000" cy="193899"/>
          </a:xfr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 b="0" i="0" u="none" strike="noStrike" baseline="0">
                <a:solidFill>
                  <a:schemeClr val="bg1">
                    <a:lumMod val="100000"/>
                  </a:schemeClr>
                </a:solidFill>
                <a:latin typeface="+mn-lt"/>
              </a:defRPr>
            </a:lvl1pPr>
            <a:lvl2pPr marL="177800" indent="0">
              <a:buNone/>
              <a:defRPr>
                <a:solidFill>
                  <a:schemeClr val="bg1"/>
                </a:solidFill>
              </a:defRPr>
            </a:lvl2pPr>
            <a:lvl3pPr marL="354013" indent="0">
              <a:buNone/>
              <a:defRPr>
                <a:solidFill>
                  <a:schemeClr val="bg1"/>
                </a:solidFill>
              </a:defRPr>
            </a:lvl3pPr>
            <a:lvl4pPr marL="541338" indent="0">
              <a:buNone/>
              <a:defRPr>
                <a:solidFill>
                  <a:schemeClr val="bg1"/>
                </a:solidFill>
              </a:defRPr>
            </a:lvl4pPr>
            <a:lvl5pPr marL="7191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hone</a:t>
            </a:r>
          </a:p>
        </p:txBody>
      </p:sp>
      <p:sp>
        <p:nvSpPr>
          <p:cNvPr id="21" name="[T2O] Placeholder converted by Text to Outline">
            <a:extLst>
              <a:ext uri="{FF2B5EF4-FFF2-40B4-BE49-F238E27FC236}">
                <a16:creationId xmlns:a16="http://schemas.microsoft.com/office/drawing/2014/main" id="{3A5AE940-1ECB-CC56-2A9B-2AE1F67C80FB}"/>
              </a:ext>
            </a:extLst>
          </p:cNvPr>
          <p:cNvSpPr/>
          <p:nvPr userDrawn="1"/>
        </p:nvSpPr>
        <p:spPr>
          <a:xfrm>
            <a:off x="764986" y="5013525"/>
            <a:ext cx="1688920" cy="171604"/>
          </a:xfrm>
          <a:custGeom>
            <a:avLst/>
            <a:gdLst/>
            <a:ahLst/>
            <a:cxnLst/>
            <a:rect l="l" t="t" r="r" b="b"/>
            <a:pathLst>
              <a:path w="1688920" h="171604">
                <a:moveTo>
                  <a:pt x="1330858" y="114175"/>
                </a:moveTo>
                <a:cubicBezTo>
                  <a:pt x="1334765" y="114175"/>
                  <a:pt x="1337467" y="114923"/>
                  <a:pt x="1338964" y="116421"/>
                </a:cubicBezTo>
                <a:cubicBezTo>
                  <a:pt x="1340462" y="117918"/>
                  <a:pt x="1341211" y="120914"/>
                  <a:pt x="1341211" y="125406"/>
                </a:cubicBezTo>
                <a:cubicBezTo>
                  <a:pt x="1341211" y="130029"/>
                  <a:pt x="1340446" y="133106"/>
                  <a:pt x="1338916" y="134636"/>
                </a:cubicBezTo>
                <a:cubicBezTo>
                  <a:pt x="1337385" y="136166"/>
                  <a:pt x="1334602" y="136931"/>
                  <a:pt x="1330565" y="136931"/>
                </a:cubicBezTo>
                <a:cubicBezTo>
                  <a:pt x="1326658" y="136931"/>
                  <a:pt x="1323956" y="136182"/>
                  <a:pt x="1322458" y="134685"/>
                </a:cubicBezTo>
                <a:cubicBezTo>
                  <a:pt x="1320961" y="133187"/>
                  <a:pt x="1320212" y="130192"/>
                  <a:pt x="1320212" y="125699"/>
                </a:cubicBezTo>
                <a:cubicBezTo>
                  <a:pt x="1320212" y="121076"/>
                  <a:pt x="1320977" y="118000"/>
                  <a:pt x="1322507" y="116470"/>
                </a:cubicBezTo>
                <a:cubicBezTo>
                  <a:pt x="1324037" y="114940"/>
                  <a:pt x="1326821" y="114175"/>
                  <a:pt x="1330858" y="114175"/>
                </a:cubicBezTo>
                <a:close/>
                <a:moveTo>
                  <a:pt x="1261588" y="93566"/>
                </a:moveTo>
                <a:cubicBezTo>
                  <a:pt x="1257160" y="93566"/>
                  <a:pt x="1253318" y="93941"/>
                  <a:pt x="1250063" y="94690"/>
                </a:cubicBezTo>
                <a:cubicBezTo>
                  <a:pt x="1246807" y="95438"/>
                  <a:pt x="1244105" y="96545"/>
                  <a:pt x="1241956" y="98010"/>
                </a:cubicBezTo>
                <a:cubicBezTo>
                  <a:pt x="1239808" y="99475"/>
                  <a:pt x="1238229" y="101233"/>
                  <a:pt x="1237219" y="103284"/>
                </a:cubicBezTo>
                <a:cubicBezTo>
                  <a:pt x="1236210" y="105336"/>
                  <a:pt x="1235706" y="107696"/>
                  <a:pt x="1235706" y="110365"/>
                </a:cubicBezTo>
                <a:cubicBezTo>
                  <a:pt x="1235706" y="114923"/>
                  <a:pt x="1237154" y="118553"/>
                  <a:pt x="1240052" y="121255"/>
                </a:cubicBezTo>
                <a:cubicBezTo>
                  <a:pt x="1242949" y="123958"/>
                  <a:pt x="1247003" y="125309"/>
                  <a:pt x="1252211" y="125309"/>
                </a:cubicBezTo>
                <a:cubicBezTo>
                  <a:pt x="1256444" y="125309"/>
                  <a:pt x="1260367" y="124234"/>
                  <a:pt x="1263981" y="122086"/>
                </a:cubicBezTo>
                <a:cubicBezTo>
                  <a:pt x="1267594" y="119937"/>
                  <a:pt x="1271387" y="116649"/>
                  <a:pt x="1275359" y="112221"/>
                </a:cubicBezTo>
                <a:lnTo>
                  <a:pt x="1275359" y="93566"/>
                </a:lnTo>
                <a:close/>
                <a:moveTo>
                  <a:pt x="937738" y="93566"/>
                </a:moveTo>
                <a:cubicBezTo>
                  <a:pt x="933310" y="93566"/>
                  <a:pt x="929468" y="93941"/>
                  <a:pt x="926213" y="94690"/>
                </a:cubicBezTo>
                <a:cubicBezTo>
                  <a:pt x="922957" y="95438"/>
                  <a:pt x="920255" y="96545"/>
                  <a:pt x="918106" y="98010"/>
                </a:cubicBezTo>
                <a:cubicBezTo>
                  <a:pt x="915958" y="99475"/>
                  <a:pt x="914379" y="101233"/>
                  <a:pt x="913369" y="103284"/>
                </a:cubicBezTo>
                <a:cubicBezTo>
                  <a:pt x="912360" y="105336"/>
                  <a:pt x="911856" y="107696"/>
                  <a:pt x="911856" y="110365"/>
                </a:cubicBezTo>
                <a:cubicBezTo>
                  <a:pt x="911856" y="114923"/>
                  <a:pt x="913304" y="118553"/>
                  <a:pt x="916202" y="121255"/>
                </a:cubicBezTo>
                <a:cubicBezTo>
                  <a:pt x="919099" y="123958"/>
                  <a:pt x="923152" y="125309"/>
                  <a:pt x="928362" y="125309"/>
                </a:cubicBezTo>
                <a:cubicBezTo>
                  <a:pt x="932594" y="125309"/>
                  <a:pt x="936517" y="124234"/>
                  <a:pt x="940131" y="122086"/>
                </a:cubicBezTo>
                <a:cubicBezTo>
                  <a:pt x="943744" y="119937"/>
                  <a:pt x="947537" y="116649"/>
                  <a:pt x="951509" y="112221"/>
                </a:cubicBezTo>
                <a:lnTo>
                  <a:pt x="951509" y="93566"/>
                </a:lnTo>
                <a:close/>
                <a:moveTo>
                  <a:pt x="42388" y="93566"/>
                </a:moveTo>
                <a:cubicBezTo>
                  <a:pt x="37960" y="93566"/>
                  <a:pt x="34118" y="93941"/>
                  <a:pt x="30863" y="94690"/>
                </a:cubicBezTo>
                <a:cubicBezTo>
                  <a:pt x="27607" y="95438"/>
                  <a:pt x="24905" y="96545"/>
                  <a:pt x="22756" y="98010"/>
                </a:cubicBezTo>
                <a:cubicBezTo>
                  <a:pt x="20608" y="99475"/>
                  <a:pt x="19029" y="101233"/>
                  <a:pt x="18019" y="103284"/>
                </a:cubicBezTo>
                <a:cubicBezTo>
                  <a:pt x="17010" y="105336"/>
                  <a:pt x="16506" y="107696"/>
                  <a:pt x="16506" y="110365"/>
                </a:cubicBezTo>
                <a:cubicBezTo>
                  <a:pt x="16506" y="114923"/>
                  <a:pt x="17954" y="118553"/>
                  <a:pt x="20852" y="121255"/>
                </a:cubicBezTo>
                <a:cubicBezTo>
                  <a:pt x="23749" y="123958"/>
                  <a:pt x="27803" y="125309"/>
                  <a:pt x="33012" y="125309"/>
                </a:cubicBezTo>
                <a:cubicBezTo>
                  <a:pt x="37244" y="125309"/>
                  <a:pt x="41167" y="124234"/>
                  <a:pt x="44781" y="122086"/>
                </a:cubicBezTo>
                <a:cubicBezTo>
                  <a:pt x="48394" y="119937"/>
                  <a:pt x="52187" y="116649"/>
                  <a:pt x="56159" y="112221"/>
                </a:cubicBezTo>
                <a:lnTo>
                  <a:pt x="56159" y="93566"/>
                </a:lnTo>
                <a:close/>
                <a:moveTo>
                  <a:pt x="734110" y="55183"/>
                </a:moveTo>
                <a:cubicBezTo>
                  <a:pt x="732014" y="55183"/>
                  <a:pt x="729950" y="55492"/>
                  <a:pt x="727919" y="56111"/>
                </a:cubicBezTo>
                <a:cubicBezTo>
                  <a:pt x="725888" y="56729"/>
                  <a:pt x="723825" y="57706"/>
                  <a:pt x="721729" y="59041"/>
                </a:cubicBezTo>
                <a:cubicBezTo>
                  <a:pt x="719632" y="60375"/>
                  <a:pt x="717438" y="62134"/>
                  <a:pt x="715144" y="64315"/>
                </a:cubicBezTo>
                <a:cubicBezTo>
                  <a:pt x="712851" y="66496"/>
                  <a:pt x="710427" y="69182"/>
                  <a:pt x="707873" y="72372"/>
                </a:cubicBezTo>
                <a:lnTo>
                  <a:pt x="707873" y="107338"/>
                </a:lnTo>
                <a:cubicBezTo>
                  <a:pt x="712328" y="112742"/>
                  <a:pt x="716553" y="116877"/>
                  <a:pt x="720550" y="119742"/>
                </a:cubicBezTo>
                <a:cubicBezTo>
                  <a:pt x="724546" y="122607"/>
                  <a:pt x="728739" y="124039"/>
                  <a:pt x="733128" y="124039"/>
                </a:cubicBezTo>
                <a:cubicBezTo>
                  <a:pt x="737189" y="124039"/>
                  <a:pt x="740677" y="123062"/>
                  <a:pt x="743593" y="121109"/>
                </a:cubicBezTo>
                <a:cubicBezTo>
                  <a:pt x="746508" y="119156"/>
                  <a:pt x="748866" y="116551"/>
                  <a:pt x="750668" y="113295"/>
                </a:cubicBezTo>
                <a:cubicBezTo>
                  <a:pt x="752470" y="110040"/>
                  <a:pt x="753797" y="106394"/>
                  <a:pt x="754648" y="102357"/>
                </a:cubicBezTo>
                <a:cubicBezTo>
                  <a:pt x="755500" y="98320"/>
                  <a:pt x="755926" y="94250"/>
                  <a:pt x="755926" y="90148"/>
                </a:cubicBezTo>
                <a:cubicBezTo>
                  <a:pt x="755926" y="85655"/>
                  <a:pt x="755582" y="81309"/>
                  <a:pt x="754894" y="77109"/>
                </a:cubicBezTo>
                <a:cubicBezTo>
                  <a:pt x="754206" y="72910"/>
                  <a:pt x="753027" y="69182"/>
                  <a:pt x="751357" y="65926"/>
                </a:cubicBezTo>
                <a:cubicBezTo>
                  <a:pt x="749686" y="62671"/>
                  <a:pt x="747442" y="60066"/>
                  <a:pt x="744625" y="58113"/>
                </a:cubicBezTo>
                <a:cubicBezTo>
                  <a:pt x="741808" y="56159"/>
                  <a:pt x="738303" y="55183"/>
                  <a:pt x="734110" y="55183"/>
                </a:cubicBezTo>
                <a:close/>
                <a:moveTo>
                  <a:pt x="496853" y="55183"/>
                </a:moveTo>
                <a:cubicBezTo>
                  <a:pt x="492751" y="55183"/>
                  <a:pt x="489267" y="56159"/>
                  <a:pt x="486403" y="58113"/>
                </a:cubicBezTo>
                <a:cubicBezTo>
                  <a:pt x="483538" y="60066"/>
                  <a:pt x="481210" y="62638"/>
                  <a:pt x="479419" y="65829"/>
                </a:cubicBezTo>
                <a:cubicBezTo>
                  <a:pt x="477629" y="69019"/>
                  <a:pt x="476326" y="72633"/>
                  <a:pt x="475512" y="76670"/>
                </a:cubicBezTo>
                <a:cubicBezTo>
                  <a:pt x="474699" y="80707"/>
                  <a:pt x="474292" y="84809"/>
                  <a:pt x="474292" y="88976"/>
                </a:cubicBezTo>
                <a:cubicBezTo>
                  <a:pt x="474292" y="93404"/>
                  <a:pt x="474634" y="97734"/>
                  <a:pt x="475317" y="101966"/>
                </a:cubicBezTo>
                <a:cubicBezTo>
                  <a:pt x="476001" y="106198"/>
                  <a:pt x="477189" y="109958"/>
                  <a:pt x="478882" y="113247"/>
                </a:cubicBezTo>
                <a:cubicBezTo>
                  <a:pt x="480575" y="116535"/>
                  <a:pt x="482821" y="119172"/>
                  <a:pt x="485621" y="121158"/>
                </a:cubicBezTo>
                <a:cubicBezTo>
                  <a:pt x="488421" y="123144"/>
                  <a:pt x="491937" y="124137"/>
                  <a:pt x="496169" y="124137"/>
                </a:cubicBezTo>
                <a:cubicBezTo>
                  <a:pt x="498318" y="124137"/>
                  <a:pt x="500385" y="123844"/>
                  <a:pt x="502371" y="123258"/>
                </a:cubicBezTo>
                <a:cubicBezTo>
                  <a:pt x="504357" y="122672"/>
                  <a:pt x="506392" y="121695"/>
                  <a:pt x="508476" y="120328"/>
                </a:cubicBezTo>
                <a:cubicBezTo>
                  <a:pt x="510559" y="118960"/>
                  <a:pt x="512741" y="117186"/>
                  <a:pt x="515019" y="115005"/>
                </a:cubicBezTo>
                <a:cubicBezTo>
                  <a:pt x="517298" y="112823"/>
                  <a:pt x="519708" y="110138"/>
                  <a:pt x="522247" y="106947"/>
                </a:cubicBezTo>
                <a:lnTo>
                  <a:pt x="522247" y="71786"/>
                </a:lnTo>
                <a:cubicBezTo>
                  <a:pt x="517884" y="66382"/>
                  <a:pt x="513668" y="62264"/>
                  <a:pt x="509599" y="59431"/>
                </a:cubicBezTo>
                <a:cubicBezTo>
                  <a:pt x="505529" y="56599"/>
                  <a:pt x="501281" y="55183"/>
                  <a:pt x="496853" y="55183"/>
                </a:cubicBezTo>
                <a:close/>
                <a:moveTo>
                  <a:pt x="1491801" y="54792"/>
                </a:moveTo>
                <a:cubicBezTo>
                  <a:pt x="1487005" y="54792"/>
                  <a:pt x="1482882" y="55639"/>
                  <a:pt x="1479433" y="57331"/>
                </a:cubicBezTo>
                <a:cubicBezTo>
                  <a:pt x="1475983" y="59024"/>
                  <a:pt x="1473142" y="61417"/>
                  <a:pt x="1470908" y="64510"/>
                </a:cubicBezTo>
                <a:cubicBezTo>
                  <a:pt x="1468675" y="67603"/>
                  <a:pt x="1467016" y="71266"/>
                  <a:pt x="1465932" y="75498"/>
                </a:cubicBezTo>
                <a:cubicBezTo>
                  <a:pt x="1464848" y="79730"/>
                  <a:pt x="1464306" y="84353"/>
                  <a:pt x="1464306" y="89367"/>
                </a:cubicBezTo>
                <a:cubicBezTo>
                  <a:pt x="1464306" y="94185"/>
                  <a:pt x="1464749" y="98710"/>
                  <a:pt x="1465636" y="102943"/>
                </a:cubicBezTo>
                <a:cubicBezTo>
                  <a:pt x="1466524" y="107175"/>
                  <a:pt x="1468002" y="110870"/>
                  <a:pt x="1470071" y="114028"/>
                </a:cubicBezTo>
                <a:cubicBezTo>
                  <a:pt x="1472140" y="117186"/>
                  <a:pt x="1474916" y="119693"/>
                  <a:pt x="1478398" y="121548"/>
                </a:cubicBezTo>
                <a:cubicBezTo>
                  <a:pt x="1481880" y="123404"/>
                  <a:pt x="1486217" y="124332"/>
                  <a:pt x="1491407" y="124332"/>
                </a:cubicBezTo>
                <a:cubicBezTo>
                  <a:pt x="1496138" y="124332"/>
                  <a:pt x="1500244" y="123486"/>
                  <a:pt x="1503726" y="121793"/>
                </a:cubicBezTo>
                <a:cubicBezTo>
                  <a:pt x="1507208" y="120100"/>
                  <a:pt x="1510066" y="117723"/>
                  <a:pt x="1512300" y="114663"/>
                </a:cubicBezTo>
                <a:cubicBezTo>
                  <a:pt x="1514534" y="111603"/>
                  <a:pt x="1516176" y="107956"/>
                  <a:pt x="1517227" y="103724"/>
                </a:cubicBezTo>
                <a:cubicBezTo>
                  <a:pt x="1518279" y="99492"/>
                  <a:pt x="1518805" y="94836"/>
                  <a:pt x="1518805" y="89757"/>
                </a:cubicBezTo>
                <a:cubicBezTo>
                  <a:pt x="1518805" y="85004"/>
                  <a:pt x="1518361" y="80511"/>
                  <a:pt x="1517474" y="76279"/>
                </a:cubicBezTo>
                <a:cubicBezTo>
                  <a:pt x="1516587" y="72047"/>
                  <a:pt x="1515125" y="68335"/>
                  <a:pt x="1513088" y="65145"/>
                </a:cubicBezTo>
                <a:cubicBezTo>
                  <a:pt x="1511051" y="61954"/>
                  <a:pt x="1508292" y="59431"/>
                  <a:pt x="1504810" y="57576"/>
                </a:cubicBezTo>
                <a:cubicBezTo>
                  <a:pt x="1501328" y="55720"/>
                  <a:pt x="1496991" y="54792"/>
                  <a:pt x="1491801" y="54792"/>
                </a:cubicBezTo>
                <a:close/>
                <a:moveTo>
                  <a:pt x="298639" y="53913"/>
                </a:moveTo>
                <a:cubicBezTo>
                  <a:pt x="294643" y="53913"/>
                  <a:pt x="291138" y="54662"/>
                  <a:pt x="288125" y="56159"/>
                </a:cubicBezTo>
                <a:cubicBezTo>
                  <a:pt x="285111" y="57657"/>
                  <a:pt x="282589" y="59643"/>
                  <a:pt x="280558" y="62117"/>
                </a:cubicBezTo>
                <a:cubicBezTo>
                  <a:pt x="278527" y="64591"/>
                  <a:pt x="276954" y="67473"/>
                  <a:pt x="275841" y="70761"/>
                </a:cubicBezTo>
                <a:cubicBezTo>
                  <a:pt x="274727" y="74049"/>
                  <a:pt x="274105" y="77484"/>
                  <a:pt x="273974" y="81065"/>
                </a:cubicBezTo>
                <a:lnTo>
                  <a:pt x="321929" y="81065"/>
                </a:lnTo>
                <a:cubicBezTo>
                  <a:pt x="322124" y="72600"/>
                  <a:pt x="320241" y="65959"/>
                  <a:pt x="316278" y="61141"/>
                </a:cubicBezTo>
                <a:cubicBezTo>
                  <a:pt x="312315" y="56322"/>
                  <a:pt x="306436" y="53913"/>
                  <a:pt x="298639" y="53913"/>
                </a:cubicBezTo>
                <a:close/>
                <a:moveTo>
                  <a:pt x="575941" y="42681"/>
                </a:moveTo>
                <a:cubicBezTo>
                  <a:pt x="577569" y="42681"/>
                  <a:pt x="578904" y="42746"/>
                  <a:pt x="579946" y="42877"/>
                </a:cubicBezTo>
                <a:cubicBezTo>
                  <a:pt x="580987" y="43007"/>
                  <a:pt x="581801" y="43202"/>
                  <a:pt x="582387" y="43463"/>
                </a:cubicBezTo>
                <a:cubicBezTo>
                  <a:pt x="582973" y="43723"/>
                  <a:pt x="583397" y="44049"/>
                  <a:pt x="583657" y="44439"/>
                </a:cubicBezTo>
                <a:cubicBezTo>
                  <a:pt x="583917" y="44830"/>
                  <a:pt x="584048" y="45253"/>
                  <a:pt x="584048" y="45709"/>
                </a:cubicBezTo>
                <a:lnTo>
                  <a:pt x="584048" y="133611"/>
                </a:lnTo>
                <a:cubicBezTo>
                  <a:pt x="584048" y="134131"/>
                  <a:pt x="583917" y="134571"/>
                  <a:pt x="583657" y="134929"/>
                </a:cubicBezTo>
                <a:cubicBezTo>
                  <a:pt x="583397" y="135287"/>
                  <a:pt x="582973" y="135596"/>
                  <a:pt x="582387" y="135857"/>
                </a:cubicBezTo>
                <a:cubicBezTo>
                  <a:pt x="581801" y="136117"/>
                  <a:pt x="580987" y="136313"/>
                  <a:pt x="579946" y="136443"/>
                </a:cubicBezTo>
                <a:cubicBezTo>
                  <a:pt x="578904" y="136573"/>
                  <a:pt x="577569" y="136638"/>
                  <a:pt x="575941" y="136638"/>
                </a:cubicBezTo>
                <a:cubicBezTo>
                  <a:pt x="574378" y="136638"/>
                  <a:pt x="573076" y="136573"/>
                  <a:pt x="572034" y="136443"/>
                </a:cubicBezTo>
                <a:cubicBezTo>
                  <a:pt x="570993" y="136313"/>
                  <a:pt x="570163" y="136117"/>
                  <a:pt x="569544" y="135857"/>
                </a:cubicBezTo>
                <a:cubicBezTo>
                  <a:pt x="568925" y="135596"/>
                  <a:pt x="568502" y="135287"/>
                  <a:pt x="568274" y="134929"/>
                </a:cubicBezTo>
                <a:cubicBezTo>
                  <a:pt x="568046" y="134571"/>
                  <a:pt x="567932" y="134131"/>
                  <a:pt x="567932" y="133611"/>
                </a:cubicBezTo>
                <a:lnTo>
                  <a:pt x="567932" y="45709"/>
                </a:lnTo>
                <a:cubicBezTo>
                  <a:pt x="567932" y="45253"/>
                  <a:pt x="568046" y="44830"/>
                  <a:pt x="568274" y="44439"/>
                </a:cubicBezTo>
                <a:cubicBezTo>
                  <a:pt x="568502" y="44049"/>
                  <a:pt x="568925" y="43723"/>
                  <a:pt x="569544" y="43463"/>
                </a:cubicBezTo>
                <a:cubicBezTo>
                  <a:pt x="570163" y="43202"/>
                  <a:pt x="570993" y="43007"/>
                  <a:pt x="572034" y="42877"/>
                </a:cubicBezTo>
                <a:cubicBezTo>
                  <a:pt x="573076" y="42746"/>
                  <a:pt x="574378" y="42681"/>
                  <a:pt x="575941" y="42681"/>
                </a:cubicBezTo>
                <a:close/>
                <a:moveTo>
                  <a:pt x="1402900" y="41412"/>
                </a:moveTo>
                <a:cubicBezTo>
                  <a:pt x="1405700" y="41412"/>
                  <a:pt x="1408418" y="41672"/>
                  <a:pt x="1411055" y="42193"/>
                </a:cubicBezTo>
                <a:cubicBezTo>
                  <a:pt x="1413692" y="42714"/>
                  <a:pt x="1416118" y="43397"/>
                  <a:pt x="1418332" y="44244"/>
                </a:cubicBezTo>
                <a:cubicBezTo>
                  <a:pt x="1420546" y="45090"/>
                  <a:pt x="1422515" y="46067"/>
                  <a:pt x="1424241" y="47174"/>
                </a:cubicBezTo>
                <a:cubicBezTo>
                  <a:pt x="1425966" y="48281"/>
                  <a:pt x="1427220" y="49225"/>
                  <a:pt x="1428001" y="50006"/>
                </a:cubicBezTo>
                <a:cubicBezTo>
                  <a:pt x="1428782" y="50788"/>
                  <a:pt x="1429319" y="51406"/>
                  <a:pt x="1429612" y="51862"/>
                </a:cubicBezTo>
                <a:cubicBezTo>
                  <a:pt x="1429905" y="52318"/>
                  <a:pt x="1430150" y="52855"/>
                  <a:pt x="1430345" y="53474"/>
                </a:cubicBezTo>
                <a:cubicBezTo>
                  <a:pt x="1430540" y="54092"/>
                  <a:pt x="1430670" y="54792"/>
                  <a:pt x="1430736" y="55573"/>
                </a:cubicBezTo>
                <a:cubicBezTo>
                  <a:pt x="1430801" y="56355"/>
                  <a:pt x="1430833" y="57331"/>
                  <a:pt x="1430833" y="58503"/>
                </a:cubicBezTo>
                <a:cubicBezTo>
                  <a:pt x="1430833" y="61043"/>
                  <a:pt x="1430540" y="62817"/>
                  <a:pt x="1429954" y="63826"/>
                </a:cubicBezTo>
                <a:cubicBezTo>
                  <a:pt x="1429368" y="64836"/>
                  <a:pt x="1428652" y="65340"/>
                  <a:pt x="1427806" y="65340"/>
                </a:cubicBezTo>
                <a:cubicBezTo>
                  <a:pt x="1426829" y="65340"/>
                  <a:pt x="1425706" y="64803"/>
                  <a:pt x="1424436" y="63729"/>
                </a:cubicBezTo>
                <a:cubicBezTo>
                  <a:pt x="1423166" y="62654"/>
                  <a:pt x="1421555" y="61466"/>
                  <a:pt x="1419601" y="60164"/>
                </a:cubicBezTo>
                <a:cubicBezTo>
                  <a:pt x="1417648" y="58862"/>
                  <a:pt x="1415288" y="57673"/>
                  <a:pt x="1412520" y="56599"/>
                </a:cubicBezTo>
                <a:cubicBezTo>
                  <a:pt x="1409753" y="55525"/>
                  <a:pt x="1406481" y="54987"/>
                  <a:pt x="1402705" y="54987"/>
                </a:cubicBezTo>
                <a:cubicBezTo>
                  <a:pt x="1394956" y="54987"/>
                  <a:pt x="1389015" y="57966"/>
                  <a:pt x="1384880" y="63924"/>
                </a:cubicBezTo>
                <a:cubicBezTo>
                  <a:pt x="1380746" y="69882"/>
                  <a:pt x="1378678" y="78526"/>
                  <a:pt x="1378678" y="89855"/>
                </a:cubicBezTo>
                <a:cubicBezTo>
                  <a:pt x="1378678" y="95520"/>
                  <a:pt x="1379215" y="100485"/>
                  <a:pt x="1380290" y="104750"/>
                </a:cubicBezTo>
                <a:cubicBezTo>
                  <a:pt x="1381364" y="109014"/>
                  <a:pt x="1382943" y="112579"/>
                  <a:pt x="1385027" y="115444"/>
                </a:cubicBezTo>
                <a:cubicBezTo>
                  <a:pt x="1387110" y="118309"/>
                  <a:pt x="1389666" y="120442"/>
                  <a:pt x="1392694" y="121841"/>
                </a:cubicBezTo>
                <a:cubicBezTo>
                  <a:pt x="1395721" y="123241"/>
                  <a:pt x="1399189" y="123941"/>
                  <a:pt x="1403095" y="123941"/>
                </a:cubicBezTo>
                <a:cubicBezTo>
                  <a:pt x="1406807" y="123941"/>
                  <a:pt x="1410062" y="123355"/>
                  <a:pt x="1412862" y="122183"/>
                </a:cubicBezTo>
                <a:cubicBezTo>
                  <a:pt x="1415662" y="121011"/>
                  <a:pt x="1418088" y="119725"/>
                  <a:pt x="1420139" y="118325"/>
                </a:cubicBezTo>
                <a:cubicBezTo>
                  <a:pt x="1422190" y="116926"/>
                  <a:pt x="1423915" y="115656"/>
                  <a:pt x="1425315" y="114516"/>
                </a:cubicBezTo>
                <a:cubicBezTo>
                  <a:pt x="1426715" y="113377"/>
                  <a:pt x="1427806" y="112807"/>
                  <a:pt x="1428587" y="112807"/>
                </a:cubicBezTo>
                <a:cubicBezTo>
                  <a:pt x="1429043" y="112807"/>
                  <a:pt x="1429433" y="112937"/>
                  <a:pt x="1429759" y="113198"/>
                </a:cubicBezTo>
                <a:cubicBezTo>
                  <a:pt x="1430084" y="113458"/>
                  <a:pt x="1430361" y="113898"/>
                  <a:pt x="1430589" y="114516"/>
                </a:cubicBezTo>
                <a:cubicBezTo>
                  <a:pt x="1430817" y="115135"/>
                  <a:pt x="1430980" y="115916"/>
                  <a:pt x="1431077" y="116860"/>
                </a:cubicBezTo>
                <a:cubicBezTo>
                  <a:pt x="1431175" y="117805"/>
                  <a:pt x="1431224" y="118928"/>
                  <a:pt x="1431224" y="120230"/>
                </a:cubicBezTo>
                <a:cubicBezTo>
                  <a:pt x="1431224" y="121337"/>
                  <a:pt x="1431191" y="122297"/>
                  <a:pt x="1431126" y="123111"/>
                </a:cubicBezTo>
                <a:cubicBezTo>
                  <a:pt x="1431061" y="123925"/>
                  <a:pt x="1430947" y="124609"/>
                  <a:pt x="1430784" y="125162"/>
                </a:cubicBezTo>
                <a:cubicBezTo>
                  <a:pt x="1430622" y="125716"/>
                  <a:pt x="1430426" y="126204"/>
                  <a:pt x="1430198" y="126627"/>
                </a:cubicBezTo>
                <a:cubicBezTo>
                  <a:pt x="1429971" y="127050"/>
                  <a:pt x="1429450" y="127669"/>
                  <a:pt x="1428636" y="128483"/>
                </a:cubicBezTo>
                <a:cubicBezTo>
                  <a:pt x="1427822" y="129297"/>
                  <a:pt x="1426438" y="130306"/>
                  <a:pt x="1424485" y="131511"/>
                </a:cubicBezTo>
                <a:cubicBezTo>
                  <a:pt x="1422531" y="132715"/>
                  <a:pt x="1420334" y="133790"/>
                  <a:pt x="1417892" y="134734"/>
                </a:cubicBezTo>
                <a:cubicBezTo>
                  <a:pt x="1415450" y="135678"/>
                  <a:pt x="1412797" y="136443"/>
                  <a:pt x="1409932" y="137029"/>
                </a:cubicBezTo>
                <a:cubicBezTo>
                  <a:pt x="1407067" y="137615"/>
                  <a:pt x="1404105" y="137908"/>
                  <a:pt x="1401044" y="137908"/>
                </a:cubicBezTo>
                <a:cubicBezTo>
                  <a:pt x="1394729" y="137908"/>
                  <a:pt x="1389129" y="136866"/>
                  <a:pt x="1384245" y="134783"/>
                </a:cubicBezTo>
                <a:cubicBezTo>
                  <a:pt x="1379362" y="132699"/>
                  <a:pt x="1375276" y="129655"/>
                  <a:pt x="1371988" y="125651"/>
                </a:cubicBezTo>
                <a:cubicBezTo>
                  <a:pt x="1368700" y="121646"/>
                  <a:pt x="1366193" y="116730"/>
                  <a:pt x="1364468" y="110903"/>
                </a:cubicBezTo>
                <a:cubicBezTo>
                  <a:pt x="1362742" y="105075"/>
                  <a:pt x="1361879" y="98352"/>
                  <a:pt x="1361879" y="90734"/>
                </a:cubicBezTo>
                <a:cubicBezTo>
                  <a:pt x="1361879" y="82074"/>
                  <a:pt x="1362937" y="74635"/>
                  <a:pt x="1365054" y="68417"/>
                </a:cubicBezTo>
                <a:cubicBezTo>
                  <a:pt x="1367170" y="62199"/>
                  <a:pt x="1370067" y="57104"/>
                  <a:pt x="1373746" y="53132"/>
                </a:cubicBezTo>
                <a:cubicBezTo>
                  <a:pt x="1377425" y="49160"/>
                  <a:pt x="1381755" y="46214"/>
                  <a:pt x="1386736" y="44293"/>
                </a:cubicBezTo>
                <a:cubicBezTo>
                  <a:pt x="1391717" y="42372"/>
                  <a:pt x="1397105" y="41412"/>
                  <a:pt x="1402900" y="41412"/>
                </a:cubicBezTo>
                <a:close/>
                <a:moveTo>
                  <a:pt x="212275" y="41412"/>
                </a:moveTo>
                <a:cubicBezTo>
                  <a:pt x="215075" y="41412"/>
                  <a:pt x="217793" y="41672"/>
                  <a:pt x="220430" y="42193"/>
                </a:cubicBezTo>
                <a:cubicBezTo>
                  <a:pt x="223067" y="42714"/>
                  <a:pt x="225493" y="43397"/>
                  <a:pt x="227707" y="44244"/>
                </a:cubicBezTo>
                <a:cubicBezTo>
                  <a:pt x="229920" y="45090"/>
                  <a:pt x="231890" y="46067"/>
                  <a:pt x="233616" y="47174"/>
                </a:cubicBezTo>
                <a:cubicBezTo>
                  <a:pt x="235341" y="48281"/>
                  <a:pt x="236594" y="49225"/>
                  <a:pt x="237376" y="50006"/>
                </a:cubicBezTo>
                <a:cubicBezTo>
                  <a:pt x="238157" y="50788"/>
                  <a:pt x="238694" y="51406"/>
                  <a:pt x="238987" y="51862"/>
                </a:cubicBezTo>
                <a:cubicBezTo>
                  <a:pt x="239280" y="52318"/>
                  <a:pt x="239525" y="52855"/>
                  <a:pt x="239720" y="53474"/>
                </a:cubicBezTo>
                <a:cubicBezTo>
                  <a:pt x="239915" y="54092"/>
                  <a:pt x="240045" y="54792"/>
                  <a:pt x="240111" y="55573"/>
                </a:cubicBezTo>
                <a:cubicBezTo>
                  <a:pt x="240176" y="56355"/>
                  <a:pt x="240208" y="57331"/>
                  <a:pt x="240208" y="58503"/>
                </a:cubicBezTo>
                <a:cubicBezTo>
                  <a:pt x="240208" y="61043"/>
                  <a:pt x="239915" y="62817"/>
                  <a:pt x="239329" y="63826"/>
                </a:cubicBezTo>
                <a:cubicBezTo>
                  <a:pt x="238743" y="64836"/>
                  <a:pt x="238027" y="65340"/>
                  <a:pt x="237180" y="65340"/>
                </a:cubicBezTo>
                <a:cubicBezTo>
                  <a:pt x="236204" y="65340"/>
                  <a:pt x="235081" y="64803"/>
                  <a:pt x="233811" y="63729"/>
                </a:cubicBezTo>
                <a:cubicBezTo>
                  <a:pt x="232541" y="62654"/>
                  <a:pt x="230930" y="61466"/>
                  <a:pt x="228976" y="60164"/>
                </a:cubicBezTo>
                <a:cubicBezTo>
                  <a:pt x="227023" y="58862"/>
                  <a:pt x="224663" y="57673"/>
                  <a:pt x="221895" y="56599"/>
                </a:cubicBezTo>
                <a:cubicBezTo>
                  <a:pt x="219128" y="55525"/>
                  <a:pt x="215856" y="54987"/>
                  <a:pt x="212080" y="54987"/>
                </a:cubicBezTo>
                <a:cubicBezTo>
                  <a:pt x="204331" y="54987"/>
                  <a:pt x="198390" y="57966"/>
                  <a:pt x="194255" y="63924"/>
                </a:cubicBezTo>
                <a:cubicBezTo>
                  <a:pt x="190121" y="69882"/>
                  <a:pt x="188053" y="78526"/>
                  <a:pt x="188053" y="89855"/>
                </a:cubicBezTo>
                <a:cubicBezTo>
                  <a:pt x="188053" y="95520"/>
                  <a:pt x="188590" y="100485"/>
                  <a:pt x="189665" y="104750"/>
                </a:cubicBezTo>
                <a:cubicBezTo>
                  <a:pt x="190739" y="109014"/>
                  <a:pt x="192318" y="112579"/>
                  <a:pt x="194402" y="115444"/>
                </a:cubicBezTo>
                <a:cubicBezTo>
                  <a:pt x="196485" y="118309"/>
                  <a:pt x="199041" y="120442"/>
                  <a:pt x="202069" y="121841"/>
                </a:cubicBezTo>
                <a:cubicBezTo>
                  <a:pt x="205096" y="123241"/>
                  <a:pt x="208564" y="123941"/>
                  <a:pt x="212470" y="123941"/>
                </a:cubicBezTo>
                <a:cubicBezTo>
                  <a:pt x="216182" y="123941"/>
                  <a:pt x="219437" y="123355"/>
                  <a:pt x="222237" y="122183"/>
                </a:cubicBezTo>
                <a:cubicBezTo>
                  <a:pt x="225037" y="121011"/>
                  <a:pt x="227462" y="119725"/>
                  <a:pt x="229513" y="118325"/>
                </a:cubicBezTo>
                <a:cubicBezTo>
                  <a:pt x="231565" y="116926"/>
                  <a:pt x="233290" y="115656"/>
                  <a:pt x="234690" y="114516"/>
                </a:cubicBezTo>
                <a:cubicBezTo>
                  <a:pt x="236090" y="113377"/>
                  <a:pt x="237180" y="112807"/>
                  <a:pt x="237962" y="112807"/>
                </a:cubicBezTo>
                <a:cubicBezTo>
                  <a:pt x="238418" y="112807"/>
                  <a:pt x="238808" y="112937"/>
                  <a:pt x="239134" y="113198"/>
                </a:cubicBezTo>
                <a:cubicBezTo>
                  <a:pt x="239459" y="113458"/>
                  <a:pt x="239736" y="113898"/>
                  <a:pt x="239964" y="114516"/>
                </a:cubicBezTo>
                <a:cubicBezTo>
                  <a:pt x="240192" y="115135"/>
                  <a:pt x="240355" y="115916"/>
                  <a:pt x="240452" y="116860"/>
                </a:cubicBezTo>
                <a:cubicBezTo>
                  <a:pt x="240550" y="117805"/>
                  <a:pt x="240599" y="118928"/>
                  <a:pt x="240599" y="120230"/>
                </a:cubicBezTo>
                <a:cubicBezTo>
                  <a:pt x="240599" y="121337"/>
                  <a:pt x="240566" y="122297"/>
                  <a:pt x="240501" y="123111"/>
                </a:cubicBezTo>
                <a:cubicBezTo>
                  <a:pt x="240436" y="123925"/>
                  <a:pt x="240322" y="124609"/>
                  <a:pt x="240159" y="125162"/>
                </a:cubicBezTo>
                <a:cubicBezTo>
                  <a:pt x="239997" y="125716"/>
                  <a:pt x="239801" y="126204"/>
                  <a:pt x="239573" y="126627"/>
                </a:cubicBezTo>
                <a:cubicBezTo>
                  <a:pt x="239345" y="127050"/>
                  <a:pt x="238825" y="127669"/>
                  <a:pt x="238011" y="128483"/>
                </a:cubicBezTo>
                <a:cubicBezTo>
                  <a:pt x="237197" y="129297"/>
                  <a:pt x="235813" y="130306"/>
                  <a:pt x="233860" y="131511"/>
                </a:cubicBezTo>
                <a:cubicBezTo>
                  <a:pt x="231906" y="132715"/>
                  <a:pt x="229709" y="133790"/>
                  <a:pt x="227267" y="134734"/>
                </a:cubicBezTo>
                <a:cubicBezTo>
                  <a:pt x="224825" y="135678"/>
                  <a:pt x="222172" y="136443"/>
                  <a:pt x="219307" y="137029"/>
                </a:cubicBezTo>
                <a:cubicBezTo>
                  <a:pt x="216442" y="137615"/>
                  <a:pt x="213480" y="137908"/>
                  <a:pt x="210419" y="137908"/>
                </a:cubicBezTo>
                <a:cubicBezTo>
                  <a:pt x="204103" y="137908"/>
                  <a:pt x="198504" y="136866"/>
                  <a:pt x="193620" y="134783"/>
                </a:cubicBezTo>
                <a:cubicBezTo>
                  <a:pt x="188737" y="132699"/>
                  <a:pt x="184651" y="129655"/>
                  <a:pt x="181363" y="125651"/>
                </a:cubicBezTo>
                <a:cubicBezTo>
                  <a:pt x="178075" y="121646"/>
                  <a:pt x="175568" y="116730"/>
                  <a:pt x="173842" y="110903"/>
                </a:cubicBezTo>
                <a:cubicBezTo>
                  <a:pt x="172117" y="105075"/>
                  <a:pt x="171254" y="98352"/>
                  <a:pt x="171254" y="90734"/>
                </a:cubicBezTo>
                <a:cubicBezTo>
                  <a:pt x="171254" y="82074"/>
                  <a:pt x="172312" y="74635"/>
                  <a:pt x="174428" y="68417"/>
                </a:cubicBezTo>
                <a:cubicBezTo>
                  <a:pt x="176545" y="62199"/>
                  <a:pt x="179442" y="57104"/>
                  <a:pt x="183121" y="53132"/>
                </a:cubicBezTo>
                <a:cubicBezTo>
                  <a:pt x="186800" y="49160"/>
                  <a:pt x="191130" y="46214"/>
                  <a:pt x="196111" y="44293"/>
                </a:cubicBezTo>
                <a:cubicBezTo>
                  <a:pt x="201092" y="42372"/>
                  <a:pt x="206480" y="41412"/>
                  <a:pt x="212275" y="41412"/>
                </a:cubicBezTo>
                <a:close/>
                <a:moveTo>
                  <a:pt x="1601604" y="41314"/>
                </a:moveTo>
                <a:cubicBezTo>
                  <a:pt x="1605251" y="41314"/>
                  <a:pt x="1608522" y="41737"/>
                  <a:pt x="1611420" y="42584"/>
                </a:cubicBezTo>
                <a:cubicBezTo>
                  <a:pt x="1614317" y="43430"/>
                  <a:pt x="1616873" y="44618"/>
                  <a:pt x="1619087" y="46148"/>
                </a:cubicBezTo>
                <a:cubicBezTo>
                  <a:pt x="1621301" y="47679"/>
                  <a:pt x="1623189" y="49502"/>
                  <a:pt x="1624752" y="51618"/>
                </a:cubicBezTo>
                <a:cubicBezTo>
                  <a:pt x="1626314" y="53734"/>
                  <a:pt x="1627617" y="56094"/>
                  <a:pt x="1628658" y="58699"/>
                </a:cubicBezTo>
                <a:cubicBezTo>
                  <a:pt x="1631588" y="55508"/>
                  <a:pt x="1634372" y="52806"/>
                  <a:pt x="1637009" y="50592"/>
                </a:cubicBezTo>
                <a:cubicBezTo>
                  <a:pt x="1639646" y="48379"/>
                  <a:pt x="1642185" y="46588"/>
                  <a:pt x="1644627" y="45221"/>
                </a:cubicBezTo>
                <a:cubicBezTo>
                  <a:pt x="1647069" y="43853"/>
                  <a:pt x="1649446" y="42860"/>
                  <a:pt x="1651757" y="42242"/>
                </a:cubicBezTo>
                <a:cubicBezTo>
                  <a:pt x="1654068" y="41623"/>
                  <a:pt x="1656396" y="41314"/>
                  <a:pt x="1658740" y="41314"/>
                </a:cubicBezTo>
                <a:cubicBezTo>
                  <a:pt x="1664405" y="41314"/>
                  <a:pt x="1669158" y="42307"/>
                  <a:pt x="1673000" y="44293"/>
                </a:cubicBezTo>
                <a:cubicBezTo>
                  <a:pt x="1676842" y="46279"/>
                  <a:pt x="1679951" y="48932"/>
                  <a:pt x="1682327" y="52253"/>
                </a:cubicBezTo>
                <a:cubicBezTo>
                  <a:pt x="1684704" y="55573"/>
                  <a:pt x="1686397" y="59464"/>
                  <a:pt x="1687406" y="63924"/>
                </a:cubicBezTo>
                <a:cubicBezTo>
                  <a:pt x="1688415" y="68384"/>
                  <a:pt x="1688920" y="73089"/>
                  <a:pt x="1688920" y="78037"/>
                </a:cubicBezTo>
                <a:lnTo>
                  <a:pt x="1688920" y="133611"/>
                </a:lnTo>
                <a:cubicBezTo>
                  <a:pt x="1688920" y="134131"/>
                  <a:pt x="1688790" y="134571"/>
                  <a:pt x="1688529" y="134929"/>
                </a:cubicBezTo>
                <a:cubicBezTo>
                  <a:pt x="1688269" y="135287"/>
                  <a:pt x="1687845" y="135596"/>
                  <a:pt x="1687259" y="135857"/>
                </a:cubicBezTo>
                <a:cubicBezTo>
                  <a:pt x="1686673" y="136117"/>
                  <a:pt x="1685860" y="136313"/>
                  <a:pt x="1684818" y="136443"/>
                </a:cubicBezTo>
                <a:cubicBezTo>
                  <a:pt x="1683776" y="136573"/>
                  <a:pt x="1682474" y="136638"/>
                  <a:pt x="1680911" y="136638"/>
                </a:cubicBezTo>
                <a:cubicBezTo>
                  <a:pt x="1679283" y="136638"/>
                  <a:pt x="1677948" y="136573"/>
                  <a:pt x="1676907" y="136443"/>
                </a:cubicBezTo>
                <a:cubicBezTo>
                  <a:pt x="1675865" y="136313"/>
                  <a:pt x="1675035" y="136117"/>
                  <a:pt x="1674416" y="135857"/>
                </a:cubicBezTo>
                <a:cubicBezTo>
                  <a:pt x="1673798" y="135596"/>
                  <a:pt x="1673358" y="135287"/>
                  <a:pt x="1673098" y="134929"/>
                </a:cubicBezTo>
                <a:cubicBezTo>
                  <a:pt x="1672837" y="134571"/>
                  <a:pt x="1672707" y="134131"/>
                  <a:pt x="1672707" y="133611"/>
                </a:cubicBezTo>
                <a:lnTo>
                  <a:pt x="1672707" y="80186"/>
                </a:lnTo>
                <a:cubicBezTo>
                  <a:pt x="1672707" y="76474"/>
                  <a:pt x="1672381" y="73089"/>
                  <a:pt x="1671730" y="70028"/>
                </a:cubicBezTo>
                <a:cubicBezTo>
                  <a:pt x="1671079" y="66968"/>
                  <a:pt x="1670037" y="64331"/>
                  <a:pt x="1668605" y="62117"/>
                </a:cubicBezTo>
                <a:cubicBezTo>
                  <a:pt x="1667172" y="59903"/>
                  <a:pt x="1665349" y="58210"/>
                  <a:pt x="1663135" y="57038"/>
                </a:cubicBezTo>
                <a:cubicBezTo>
                  <a:pt x="1660922" y="55866"/>
                  <a:pt x="1658317" y="55280"/>
                  <a:pt x="1655322" y="55280"/>
                </a:cubicBezTo>
                <a:cubicBezTo>
                  <a:pt x="1651611" y="55280"/>
                  <a:pt x="1647883" y="56713"/>
                  <a:pt x="1644139" y="59578"/>
                </a:cubicBezTo>
                <a:cubicBezTo>
                  <a:pt x="1640395" y="62443"/>
                  <a:pt x="1636277" y="66643"/>
                  <a:pt x="1631784" y="72177"/>
                </a:cubicBezTo>
                <a:lnTo>
                  <a:pt x="1631784" y="133611"/>
                </a:lnTo>
                <a:cubicBezTo>
                  <a:pt x="1631784" y="134131"/>
                  <a:pt x="1631654" y="134571"/>
                  <a:pt x="1631393" y="134929"/>
                </a:cubicBezTo>
                <a:cubicBezTo>
                  <a:pt x="1631133" y="135287"/>
                  <a:pt x="1630693" y="135596"/>
                  <a:pt x="1630075" y="135857"/>
                </a:cubicBezTo>
                <a:cubicBezTo>
                  <a:pt x="1629456" y="136117"/>
                  <a:pt x="1628626" y="136313"/>
                  <a:pt x="1627584" y="136443"/>
                </a:cubicBezTo>
                <a:cubicBezTo>
                  <a:pt x="1626542" y="136573"/>
                  <a:pt x="1625240" y="136638"/>
                  <a:pt x="1623677" y="136638"/>
                </a:cubicBezTo>
                <a:cubicBezTo>
                  <a:pt x="1622180" y="136638"/>
                  <a:pt x="1620894" y="136573"/>
                  <a:pt x="1619819" y="136443"/>
                </a:cubicBezTo>
                <a:cubicBezTo>
                  <a:pt x="1618745" y="136313"/>
                  <a:pt x="1617899" y="136117"/>
                  <a:pt x="1617280" y="135857"/>
                </a:cubicBezTo>
                <a:cubicBezTo>
                  <a:pt x="1616661" y="135596"/>
                  <a:pt x="1616238" y="135287"/>
                  <a:pt x="1616010" y="134929"/>
                </a:cubicBezTo>
                <a:cubicBezTo>
                  <a:pt x="1615782" y="134571"/>
                  <a:pt x="1615669" y="134131"/>
                  <a:pt x="1615669" y="133611"/>
                </a:cubicBezTo>
                <a:lnTo>
                  <a:pt x="1615669" y="80186"/>
                </a:lnTo>
                <a:cubicBezTo>
                  <a:pt x="1615669" y="76474"/>
                  <a:pt x="1615310" y="73089"/>
                  <a:pt x="1614594" y="70028"/>
                </a:cubicBezTo>
                <a:cubicBezTo>
                  <a:pt x="1613878" y="66968"/>
                  <a:pt x="1612804" y="64331"/>
                  <a:pt x="1611371" y="62117"/>
                </a:cubicBezTo>
                <a:cubicBezTo>
                  <a:pt x="1609939" y="59903"/>
                  <a:pt x="1608132" y="58210"/>
                  <a:pt x="1605950" y="57038"/>
                </a:cubicBezTo>
                <a:cubicBezTo>
                  <a:pt x="1603769" y="55866"/>
                  <a:pt x="1601181" y="55280"/>
                  <a:pt x="1598186" y="55280"/>
                </a:cubicBezTo>
                <a:cubicBezTo>
                  <a:pt x="1594474" y="55280"/>
                  <a:pt x="1590730" y="56713"/>
                  <a:pt x="1586954" y="59578"/>
                </a:cubicBezTo>
                <a:cubicBezTo>
                  <a:pt x="1583177" y="62443"/>
                  <a:pt x="1579075" y="66643"/>
                  <a:pt x="1574648" y="72177"/>
                </a:cubicBezTo>
                <a:lnTo>
                  <a:pt x="1574648" y="133611"/>
                </a:lnTo>
                <a:cubicBezTo>
                  <a:pt x="1574648" y="134131"/>
                  <a:pt x="1574518" y="134571"/>
                  <a:pt x="1574257" y="134929"/>
                </a:cubicBezTo>
                <a:cubicBezTo>
                  <a:pt x="1573997" y="135287"/>
                  <a:pt x="1573573" y="135596"/>
                  <a:pt x="1572987" y="135857"/>
                </a:cubicBezTo>
                <a:cubicBezTo>
                  <a:pt x="1572401" y="136117"/>
                  <a:pt x="1571587" y="136313"/>
                  <a:pt x="1570546" y="136443"/>
                </a:cubicBezTo>
                <a:cubicBezTo>
                  <a:pt x="1569504" y="136573"/>
                  <a:pt x="1568169" y="136638"/>
                  <a:pt x="1566541" y="136638"/>
                </a:cubicBezTo>
                <a:cubicBezTo>
                  <a:pt x="1564979" y="136638"/>
                  <a:pt x="1563676" y="136573"/>
                  <a:pt x="1562635" y="136443"/>
                </a:cubicBezTo>
                <a:cubicBezTo>
                  <a:pt x="1561593" y="136313"/>
                  <a:pt x="1560763" y="136117"/>
                  <a:pt x="1560144" y="135857"/>
                </a:cubicBezTo>
                <a:cubicBezTo>
                  <a:pt x="1559525" y="135596"/>
                  <a:pt x="1559102" y="135287"/>
                  <a:pt x="1558874" y="134929"/>
                </a:cubicBezTo>
                <a:cubicBezTo>
                  <a:pt x="1558646" y="134571"/>
                  <a:pt x="1558532" y="134131"/>
                  <a:pt x="1558532" y="133611"/>
                </a:cubicBezTo>
                <a:lnTo>
                  <a:pt x="1558532" y="45709"/>
                </a:lnTo>
                <a:cubicBezTo>
                  <a:pt x="1558532" y="45188"/>
                  <a:pt x="1558630" y="44749"/>
                  <a:pt x="1558825" y="44390"/>
                </a:cubicBezTo>
                <a:cubicBezTo>
                  <a:pt x="1559021" y="44032"/>
                  <a:pt x="1559411" y="43707"/>
                  <a:pt x="1559997" y="43414"/>
                </a:cubicBezTo>
                <a:cubicBezTo>
                  <a:pt x="1560583" y="43121"/>
                  <a:pt x="1561332" y="42925"/>
                  <a:pt x="1562244" y="42828"/>
                </a:cubicBezTo>
                <a:cubicBezTo>
                  <a:pt x="1563155" y="42730"/>
                  <a:pt x="1564360" y="42681"/>
                  <a:pt x="1565858" y="42681"/>
                </a:cubicBezTo>
                <a:cubicBezTo>
                  <a:pt x="1567290" y="42681"/>
                  <a:pt x="1568478" y="42730"/>
                  <a:pt x="1569422" y="42828"/>
                </a:cubicBezTo>
                <a:cubicBezTo>
                  <a:pt x="1570367" y="42925"/>
                  <a:pt x="1571099" y="43121"/>
                  <a:pt x="1571620" y="43414"/>
                </a:cubicBezTo>
                <a:cubicBezTo>
                  <a:pt x="1572141" y="43707"/>
                  <a:pt x="1572515" y="44032"/>
                  <a:pt x="1572743" y="44390"/>
                </a:cubicBezTo>
                <a:cubicBezTo>
                  <a:pt x="1572971" y="44749"/>
                  <a:pt x="1573085" y="45188"/>
                  <a:pt x="1573085" y="45709"/>
                </a:cubicBezTo>
                <a:lnTo>
                  <a:pt x="1573085" y="57331"/>
                </a:lnTo>
                <a:cubicBezTo>
                  <a:pt x="1578034" y="51797"/>
                  <a:pt x="1582836" y="47744"/>
                  <a:pt x="1587491" y="45172"/>
                </a:cubicBezTo>
                <a:cubicBezTo>
                  <a:pt x="1592147" y="42600"/>
                  <a:pt x="1596851" y="41314"/>
                  <a:pt x="1601604" y="41314"/>
                </a:cubicBezTo>
                <a:close/>
                <a:moveTo>
                  <a:pt x="1492434" y="41314"/>
                </a:moveTo>
                <a:cubicBezTo>
                  <a:pt x="1499662" y="41314"/>
                  <a:pt x="1505961" y="42388"/>
                  <a:pt x="1511333" y="44537"/>
                </a:cubicBezTo>
                <a:cubicBezTo>
                  <a:pt x="1516705" y="46686"/>
                  <a:pt x="1521181" y="49811"/>
                  <a:pt x="1524762" y="53913"/>
                </a:cubicBezTo>
                <a:cubicBezTo>
                  <a:pt x="1528344" y="58015"/>
                  <a:pt x="1531029" y="62996"/>
                  <a:pt x="1532820" y="68856"/>
                </a:cubicBezTo>
                <a:cubicBezTo>
                  <a:pt x="1534611" y="74716"/>
                  <a:pt x="1535506" y="81325"/>
                  <a:pt x="1535506" y="88683"/>
                </a:cubicBezTo>
                <a:cubicBezTo>
                  <a:pt x="1535506" y="95845"/>
                  <a:pt x="1534562" y="102438"/>
                  <a:pt x="1532674" y="108461"/>
                </a:cubicBezTo>
                <a:cubicBezTo>
                  <a:pt x="1530785" y="114484"/>
                  <a:pt x="1527969" y="119676"/>
                  <a:pt x="1524225" y="124039"/>
                </a:cubicBezTo>
                <a:cubicBezTo>
                  <a:pt x="1520481" y="128402"/>
                  <a:pt x="1515793" y="131804"/>
                  <a:pt x="1510161" y="134245"/>
                </a:cubicBezTo>
                <a:cubicBezTo>
                  <a:pt x="1504529" y="136687"/>
                  <a:pt x="1498001" y="137908"/>
                  <a:pt x="1490578" y="137908"/>
                </a:cubicBezTo>
                <a:cubicBezTo>
                  <a:pt x="1483351" y="137908"/>
                  <a:pt x="1477051" y="136834"/>
                  <a:pt x="1471680" y="134685"/>
                </a:cubicBezTo>
                <a:cubicBezTo>
                  <a:pt x="1466308" y="132536"/>
                  <a:pt x="1461831" y="129411"/>
                  <a:pt x="1458250" y="125309"/>
                </a:cubicBezTo>
                <a:cubicBezTo>
                  <a:pt x="1454669" y="121207"/>
                  <a:pt x="1451999" y="116226"/>
                  <a:pt x="1450241" y="110365"/>
                </a:cubicBezTo>
                <a:cubicBezTo>
                  <a:pt x="1448483" y="104505"/>
                  <a:pt x="1447604" y="97864"/>
                  <a:pt x="1447604" y="90441"/>
                </a:cubicBezTo>
                <a:cubicBezTo>
                  <a:pt x="1447604" y="83279"/>
                  <a:pt x="1448532" y="76686"/>
                  <a:pt x="1450388" y="70663"/>
                </a:cubicBezTo>
                <a:cubicBezTo>
                  <a:pt x="1452244" y="64640"/>
                  <a:pt x="1455043" y="59448"/>
                  <a:pt x="1458787" y="55085"/>
                </a:cubicBezTo>
                <a:cubicBezTo>
                  <a:pt x="1462531" y="50723"/>
                  <a:pt x="1467203" y="47337"/>
                  <a:pt x="1472803" y="44928"/>
                </a:cubicBezTo>
                <a:cubicBezTo>
                  <a:pt x="1478402" y="42518"/>
                  <a:pt x="1484946" y="41314"/>
                  <a:pt x="1492434" y="41314"/>
                </a:cubicBezTo>
                <a:close/>
                <a:moveTo>
                  <a:pt x="1256704" y="41314"/>
                </a:moveTo>
                <a:cubicBezTo>
                  <a:pt x="1263020" y="41314"/>
                  <a:pt x="1268392" y="42030"/>
                  <a:pt x="1272820" y="43463"/>
                </a:cubicBezTo>
                <a:cubicBezTo>
                  <a:pt x="1277247" y="44895"/>
                  <a:pt x="1280828" y="46995"/>
                  <a:pt x="1283563" y="49762"/>
                </a:cubicBezTo>
                <a:cubicBezTo>
                  <a:pt x="1286298" y="52529"/>
                  <a:pt x="1288284" y="55964"/>
                  <a:pt x="1289521" y="60066"/>
                </a:cubicBezTo>
                <a:cubicBezTo>
                  <a:pt x="1290758" y="64168"/>
                  <a:pt x="1291377" y="68954"/>
                  <a:pt x="1291377" y="74423"/>
                </a:cubicBezTo>
                <a:lnTo>
                  <a:pt x="1291377" y="133708"/>
                </a:lnTo>
                <a:cubicBezTo>
                  <a:pt x="1291377" y="134490"/>
                  <a:pt x="1291116" y="135076"/>
                  <a:pt x="1290595" y="135466"/>
                </a:cubicBezTo>
                <a:cubicBezTo>
                  <a:pt x="1290074" y="135857"/>
                  <a:pt x="1289358" y="136150"/>
                  <a:pt x="1288446" y="136345"/>
                </a:cubicBezTo>
                <a:cubicBezTo>
                  <a:pt x="1287535" y="136541"/>
                  <a:pt x="1286200" y="136638"/>
                  <a:pt x="1284442" y="136638"/>
                </a:cubicBezTo>
                <a:cubicBezTo>
                  <a:pt x="1282749" y="136638"/>
                  <a:pt x="1281398" y="136541"/>
                  <a:pt x="1280389" y="136345"/>
                </a:cubicBezTo>
                <a:cubicBezTo>
                  <a:pt x="1279380" y="136150"/>
                  <a:pt x="1278647" y="135857"/>
                  <a:pt x="1278191" y="135466"/>
                </a:cubicBezTo>
                <a:cubicBezTo>
                  <a:pt x="1277736" y="135076"/>
                  <a:pt x="1277508" y="134490"/>
                  <a:pt x="1277508" y="133708"/>
                </a:cubicBezTo>
                <a:lnTo>
                  <a:pt x="1277508" y="124918"/>
                </a:lnTo>
                <a:cubicBezTo>
                  <a:pt x="1273666" y="129020"/>
                  <a:pt x="1269385" y="132211"/>
                  <a:pt x="1264664" y="134490"/>
                </a:cubicBezTo>
                <a:cubicBezTo>
                  <a:pt x="1259944" y="136768"/>
                  <a:pt x="1254946" y="137908"/>
                  <a:pt x="1249672" y="137908"/>
                </a:cubicBezTo>
                <a:cubicBezTo>
                  <a:pt x="1245049" y="137908"/>
                  <a:pt x="1240866" y="137306"/>
                  <a:pt x="1237122" y="136101"/>
                </a:cubicBezTo>
                <a:cubicBezTo>
                  <a:pt x="1233378" y="134896"/>
                  <a:pt x="1230187" y="133155"/>
                  <a:pt x="1227550" y="130876"/>
                </a:cubicBezTo>
                <a:cubicBezTo>
                  <a:pt x="1224913" y="128597"/>
                  <a:pt x="1222862" y="125797"/>
                  <a:pt x="1221397" y="122476"/>
                </a:cubicBezTo>
                <a:cubicBezTo>
                  <a:pt x="1219932" y="119156"/>
                  <a:pt x="1219200" y="115379"/>
                  <a:pt x="1219200" y="111147"/>
                </a:cubicBezTo>
                <a:cubicBezTo>
                  <a:pt x="1219200" y="106198"/>
                  <a:pt x="1220209" y="101901"/>
                  <a:pt x="1222227" y="98255"/>
                </a:cubicBezTo>
                <a:cubicBezTo>
                  <a:pt x="1224246" y="94608"/>
                  <a:pt x="1227143" y="91581"/>
                  <a:pt x="1230920" y="89171"/>
                </a:cubicBezTo>
                <a:cubicBezTo>
                  <a:pt x="1234696" y="86762"/>
                  <a:pt x="1239319" y="84955"/>
                  <a:pt x="1244789" y="83751"/>
                </a:cubicBezTo>
                <a:cubicBezTo>
                  <a:pt x="1250258" y="82546"/>
                  <a:pt x="1256411" y="81944"/>
                  <a:pt x="1263248" y="81944"/>
                </a:cubicBezTo>
                <a:lnTo>
                  <a:pt x="1275359" y="81944"/>
                </a:lnTo>
                <a:lnTo>
                  <a:pt x="1275359" y="75107"/>
                </a:lnTo>
                <a:cubicBezTo>
                  <a:pt x="1275359" y="71721"/>
                  <a:pt x="1275001" y="68726"/>
                  <a:pt x="1274285" y="66122"/>
                </a:cubicBezTo>
                <a:cubicBezTo>
                  <a:pt x="1273568" y="63517"/>
                  <a:pt x="1272413" y="61352"/>
                  <a:pt x="1270817" y="59627"/>
                </a:cubicBezTo>
                <a:cubicBezTo>
                  <a:pt x="1269222" y="57901"/>
                  <a:pt x="1267155" y="56599"/>
                  <a:pt x="1264615" y="55720"/>
                </a:cubicBezTo>
                <a:cubicBezTo>
                  <a:pt x="1262076" y="54841"/>
                  <a:pt x="1258951" y="54401"/>
                  <a:pt x="1255239" y="54401"/>
                </a:cubicBezTo>
                <a:cubicBezTo>
                  <a:pt x="1251267" y="54401"/>
                  <a:pt x="1247702" y="54873"/>
                  <a:pt x="1244545" y="55818"/>
                </a:cubicBezTo>
                <a:cubicBezTo>
                  <a:pt x="1241387" y="56762"/>
                  <a:pt x="1238619" y="57804"/>
                  <a:pt x="1236243" y="58943"/>
                </a:cubicBezTo>
                <a:cubicBezTo>
                  <a:pt x="1233866" y="60082"/>
                  <a:pt x="1231880" y="61124"/>
                  <a:pt x="1230285" y="62068"/>
                </a:cubicBezTo>
                <a:cubicBezTo>
                  <a:pt x="1228690" y="63013"/>
                  <a:pt x="1227502" y="63485"/>
                  <a:pt x="1226720" y="63485"/>
                </a:cubicBezTo>
                <a:cubicBezTo>
                  <a:pt x="1226199" y="63485"/>
                  <a:pt x="1225743" y="63354"/>
                  <a:pt x="1225353" y="63094"/>
                </a:cubicBezTo>
                <a:cubicBezTo>
                  <a:pt x="1224962" y="62833"/>
                  <a:pt x="1224620" y="62443"/>
                  <a:pt x="1224327" y="61922"/>
                </a:cubicBezTo>
                <a:cubicBezTo>
                  <a:pt x="1224034" y="61401"/>
                  <a:pt x="1223823" y="60734"/>
                  <a:pt x="1223692" y="59920"/>
                </a:cubicBezTo>
                <a:cubicBezTo>
                  <a:pt x="1223562" y="59106"/>
                  <a:pt x="1223497" y="58210"/>
                  <a:pt x="1223497" y="57234"/>
                </a:cubicBezTo>
                <a:cubicBezTo>
                  <a:pt x="1223497" y="55606"/>
                  <a:pt x="1223611" y="54320"/>
                  <a:pt x="1223839" y="53376"/>
                </a:cubicBezTo>
                <a:cubicBezTo>
                  <a:pt x="1224067" y="52432"/>
                  <a:pt x="1224620" y="51536"/>
                  <a:pt x="1225499" y="50690"/>
                </a:cubicBezTo>
                <a:cubicBezTo>
                  <a:pt x="1226378" y="49844"/>
                  <a:pt x="1227892" y="48851"/>
                  <a:pt x="1230041" y="47711"/>
                </a:cubicBezTo>
                <a:cubicBezTo>
                  <a:pt x="1232190" y="46572"/>
                  <a:pt x="1234664" y="45530"/>
                  <a:pt x="1237464" y="44586"/>
                </a:cubicBezTo>
                <a:cubicBezTo>
                  <a:pt x="1240264" y="43642"/>
                  <a:pt x="1243324" y="42860"/>
                  <a:pt x="1246644" y="42242"/>
                </a:cubicBezTo>
                <a:cubicBezTo>
                  <a:pt x="1249965" y="41623"/>
                  <a:pt x="1253318" y="41314"/>
                  <a:pt x="1256704" y="41314"/>
                </a:cubicBezTo>
                <a:close/>
                <a:moveTo>
                  <a:pt x="1106304" y="41314"/>
                </a:moveTo>
                <a:cubicBezTo>
                  <a:pt x="1109950" y="41314"/>
                  <a:pt x="1113222" y="41737"/>
                  <a:pt x="1116120" y="42584"/>
                </a:cubicBezTo>
                <a:cubicBezTo>
                  <a:pt x="1119017" y="43430"/>
                  <a:pt x="1121573" y="44618"/>
                  <a:pt x="1123787" y="46148"/>
                </a:cubicBezTo>
                <a:cubicBezTo>
                  <a:pt x="1126001" y="47679"/>
                  <a:pt x="1127889" y="49502"/>
                  <a:pt x="1129452" y="51618"/>
                </a:cubicBezTo>
                <a:cubicBezTo>
                  <a:pt x="1131014" y="53734"/>
                  <a:pt x="1132316" y="56094"/>
                  <a:pt x="1133358" y="58699"/>
                </a:cubicBezTo>
                <a:cubicBezTo>
                  <a:pt x="1136288" y="55508"/>
                  <a:pt x="1139072" y="52806"/>
                  <a:pt x="1141709" y="50592"/>
                </a:cubicBezTo>
                <a:cubicBezTo>
                  <a:pt x="1144346" y="48379"/>
                  <a:pt x="1146885" y="46588"/>
                  <a:pt x="1149327" y="45221"/>
                </a:cubicBezTo>
                <a:cubicBezTo>
                  <a:pt x="1151769" y="43853"/>
                  <a:pt x="1154146" y="42860"/>
                  <a:pt x="1156457" y="42242"/>
                </a:cubicBezTo>
                <a:cubicBezTo>
                  <a:pt x="1158768" y="41623"/>
                  <a:pt x="1161096" y="41314"/>
                  <a:pt x="1163440" y="41314"/>
                </a:cubicBezTo>
                <a:cubicBezTo>
                  <a:pt x="1169105" y="41314"/>
                  <a:pt x="1173858" y="42307"/>
                  <a:pt x="1177700" y="44293"/>
                </a:cubicBezTo>
                <a:cubicBezTo>
                  <a:pt x="1181542" y="46279"/>
                  <a:pt x="1184651" y="48932"/>
                  <a:pt x="1187027" y="52253"/>
                </a:cubicBezTo>
                <a:cubicBezTo>
                  <a:pt x="1189404" y="55573"/>
                  <a:pt x="1191097" y="59464"/>
                  <a:pt x="1192106" y="63924"/>
                </a:cubicBezTo>
                <a:cubicBezTo>
                  <a:pt x="1193115" y="68384"/>
                  <a:pt x="1193620" y="73089"/>
                  <a:pt x="1193620" y="78037"/>
                </a:cubicBezTo>
                <a:lnTo>
                  <a:pt x="1193620" y="133611"/>
                </a:lnTo>
                <a:cubicBezTo>
                  <a:pt x="1193620" y="134131"/>
                  <a:pt x="1193490" y="134571"/>
                  <a:pt x="1193229" y="134929"/>
                </a:cubicBezTo>
                <a:cubicBezTo>
                  <a:pt x="1192969" y="135287"/>
                  <a:pt x="1192545" y="135596"/>
                  <a:pt x="1191959" y="135857"/>
                </a:cubicBezTo>
                <a:cubicBezTo>
                  <a:pt x="1191373" y="136117"/>
                  <a:pt x="1190559" y="136313"/>
                  <a:pt x="1189518" y="136443"/>
                </a:cubicBezTo>
                <a:cubicBezTo>
                  <a:pt x="1188476" y="136573"/>
                  <a:pt x="1187174" y="136638"/>
                  <a:pt x="1185611" y="136638"/>
                </a:cubicBezTo>
                <a:cubicBezTo>
                  <a:pt x="1183983" y="136638"/>
                  <a:pt x="1182648" y="136573"/>
                  <a:pt x="1181607" y="136443"/>
                </a:cubicBezTo>
                <a:cubicBezTo>
                  <a:pt x="1180565" y="136313"/>
                  <a:pt x="1179735" y="136117"/>
                  <a:pt x="1179116" y="135857"/>
                </a:cubicBezTo>
                <a:cubicBezTo>
                  <a:pt x="1178497" y="135596"/>
                  <a:pt x="1178058" y="135287"/>
                  <a:pt x="1177797" y="134929"/>
                </a:cubicBezTo>
                <a:cubicBezTo>
                  <a:pt x="1177537" y="134571"/>
                  <a:pt x="1177407" y="134131"/>
                  <a:pt x="1177407" y="133611"/>
                </a:cubicBezTo>
                <a:lnTo>
                  <a:pt x="1177407" y="80186"/>
                </a:lnTo>
                <a:cubicBezTo>
                  <a:pt x="1177407" y="76474"/>
                  <a:pt x="1177081" y="73089"/>
                  <a:pt x="1176430" y="70028"/>
                </a:cubicBezTo>
                <a:cubicBezTo>
                  <a:pt x="1175779" y="66968"/>
                  <a:pt x="1174737" y="64331"/>
                  <a:pt x="1173305" y="62117"/>
                </a:cubicBezTo>
                <a:cubicBezTo>
                  <a:pt x="1171872" y="59903"/>
                  <a:pt x="1170049" y="58210"/>
                  <a:pt x="1167835" y="57038"/>
                </a:cubicBezTo>
                <a:cubicBezTo>
                  <a:pt x="1165622" y="55866"/>
                  <a:pt x="1163017" y="55280"/>
                  <a:pt x="1160022" y="55280"/>
                </a:cubicBezTo>
                <a:cubicBezTo>
                  <a:pt x="1156310" y="55280"/>
                  <a:pt x="1152583" y="56713"/>
                  <a:pt x="1148839" y="59578"/>
                </a:cubicBezTo>
                <a:cubicBezTo>
                  <a:pt x="1145095" y="62443"/>
                  <a:pt x="1140977" y="66643"/>
                  <a:pt x="1136484" y="72177"/>
                </a:cubicBezTo>
                <a:lnTo>
                  <a:pt x="1136484" y="133611"/>
                </a:lnTo>
                <a:cubicBezTo>
                  <a:pt x="1136484" y="134131"/>
                  <a:pt x="1136353" y="134571"/>
                  <a:pt x="1136093" y="134929"/>
                </a:cubicBezTo>
                <a:cubicBezTo>
                  <a:pt x="1135833" y="135287"/>
                  <a:pt x="1135393" y="135596"/>
                  <a:pt x="1134774" y="135857"/>
                </a:cubicBezTo>
                <a:cubicBezTo>
                  <a:pt x="1134156" y="136117"/>
                  <a:pt x="1133326" y="136313"/>
                  <a:pt x="1132284" y="136443"/>
                </a:cubicBezTo>
                <a:cubicBezTo>
                  <a:pt x="1131242" y="136573"/>
                  <a:pt x="1129940" y="136638"/>
                  <a:pt x="1128377" y="136638"/>
                </a:cubicBezTo>
                <a:cubicBezTo>
                  <a:pt x="1126880" y="136638"/>
                  <a:pt x="1125594" y="136573"/>
                  <a:pt x="1124519" y="136443"/>
                </a:cubicBezTo>
                <a:cubicBezTo>
                  <a:pt x="1123445" y="136313"/>
                  <a:pt x="1122599" y="136117"/>
                  <a:pt x="1121980" y="135857"/>
                </a:cubicBezTo>
                <a:cubicBezTo>
                  <a:pt x="1121361" y="135596"/>
                  <a:pt x="1120938" y="135287"/>
                  <a:pt x="1120710" y="134929"/>
                </a:cubicBezTo>
                <a:cubicBezTo>
                  <a:pt x="1120482" y="134571"/>
                  <a:pt x="1120369" y="134131"/>
                  <a:pt x="1120369" y="133611"/>
                </a:cubicBezTo>
                <a:lnTo>
                  <a:pt x="1120369" y="80186"/>
                </a:lnTo>
                <a:cubicBezTo>
                  <a:pt x="1120369" y="76474"/>
                  <a:pt x="1120010" y="73089"/>
                  <a:pt x="1119294" y="70028"/>
                </a:cubicBezTo>
                <a:cubicBezTo>
                  <a:pt x="1118578" y="66968"/>
                  <a:pt x="1117504" y="64331"/>
                  <a:pt x="1116071" y="62117"/>
                </a:cubicBezTo>
                <a:cubicBezTo>
                  <a:pt x="1114639" y="59903"/>
                  <a:pt x="1112832" y="58210"/>
                  <a:pt x="1110650" y="57038"/>
                </a:cubicBezTo>
                <a:cubicBezTo>
                  <a:pt x="1108469" y="55866"/>
                  <a:pt x="1105881" y="55280"/>
                  <a:pt x="1102886" y="55280"/>
                </a:cubicBezTo>
                <a:cubicBezTo>
                  <a:pt x="1099174" y="55280"/>
                  <a:pt x="1095430" y="56713"/>
                  <a:pt x="1091654" y="59578"/>
                </a:cubicBezTo>
                <a:cubicBezTo>
                  <a:pt x="1087877" y="62443"/>
                  <a:pt x="1083775" y="66643"/>
                  <a:pt x="1079348" y="72177"/>
                </a:cubicBezTo>
                <a:lnTo>
                  <a:pt x="1079348" y="133611"/>
                </a:lnTo>
                <a:cubicBezTo>
                  <a:pt x="1079348" y="134131"/>
                  <a:pt x="1079218" y="134571"/>
                  <a:pt x="1078957" y="134929"/>
                </a:cubicBezTo>
                <a:cubicBezTo>
                  <a:pt x="1078697" y="135287"/>
                  <a:pt x="1078273" y="135596"/>
                  <a:pt x="1077687" y="135857"/>
                </a:cubicBezTo>
                <a:cubicBezTo>
                  <a:pt x="1077101" y="136117"/>
                  <a:pt x="1076287" y="136313"/>
                  <a:pt x="1075246" y="136443"/>
                </a:cubicBezTo>
                <a:cubicBezTo>
                  <a:pt x="1074204" y="136573"/>
                  <a:pt x="1072869" y="136638"/>
                  <a:pt x="1071241" y="136638"/>
                </a:cubicBezTo>
                <a:cubicBezTo>
                  <a:pt x="1069678" y="136638"/>
                  <a:pt x="1068376" y="136573"/>
                  <a:pt x="1067335" y="136443"/>
                </a:cubicBezTo>
                <a:cubicBezTo>
                  <a:pt x="1066293" y="136313"/>
                  <a:pt x="1065462" y="136117"/>
                  <a:pt x="1064844" y="135857"/>
                </a:cubicBezTo>
                <a:cubicBezTo>
                  <a:pt x="1064225" y="135596"/>
                  <a:pt x="1063802" y="135287"/>
                  <a:pt x="1063574" y="134929"/>
                </a:cubicBezTo>
                <a:cubicBezTo>
                  <a:pt x="1063346" y="134571"/>
                  <a:pt x="1063232" y="134131"/>
                  <a:pt x="1063232" y="133611"/>
                </a:cubicBezTo>
                <a:lnTo>
                  <a:pt x="1063232" y="45709"/>
                </a:lnTo>
                <a:cubicBezTo>
                  <a:pt x="1063232" y="45188"/>
                  <a:pt x="1063330" y="44749"/>
                  <a:pt x="1063525" y="44390"/>
                </a:cubicBezTo>
                <a:cubicBezTo>
                  <a:pt x="1063721" y="44032"/>
                  <a:pt x="1064111" y="43707"/>
                  <a:pt x="1064697" y="43414"/>
                </a:cubicBezTo>
                <a:cubicBezTo>
                  <a:pt x="1065283" y="43121"/>
                  <a:pt x="1066032" y="42925"/>
                  <a:pt x="1066944" y="42828"/>
                </a:cubicBezTo>
                <a:cubicBezTo>
                  <a:pt x="1067855" y="42730"/>
                  <a:pt x="1069060" y="42681"/>
                  <a:pt x="1070557" y="42681"/>
                </a:cubicBezTo>
                <a:cubicBezTo>
                  <a:pt x="1071990" y="42681"/>
                  <a:pt x="1073178" y="42730"/>
                  <a:pt x="1074122" y="42828"/>
                </a:cubicBezTo>
                <a:cubicBezTo>
                  <a:pt x="1075066" y="42925"/>
                  <a:pt x="1075799" y="43121"/>
                  <a:pt x="1076320" y="43414"/>
                </a:cubicBezTo>
                <a:cubicBezTo>
                  <a:pt x="1076841" y="43707"/>
                  <a:pt x="1077215" y="44032"/>
                  <a:pt x="1077443" y="44390"/>
                </a:cubicBezTo>
                <a:cubicBezTo>
                  <a:pt x="1077671" y="44749"/>
                  <a:pt x="1077785" y="45188"/>
                  <a:pt x="1077785" y="45709"/>
                </a:cubicBezTo>
                <a:lnTo>
                  <a:pt x="1077785" y="57331"/>
                </a:lnTo>
                <a:cubicBezTo>
                  <a:pt x="1082734" y="51797"/>
                  <a:pt x="1087536" y="47744"/>
                  <a:pt x="1092191" y="45172"/>
                </a:cubicBezTo>
                <a:cubicBezTo>
                  <a:pt x="1096847" y="42600"/>
                  <a:pt x="1101551" y="41314"/>
                  <a:pt x="1106304" y="41314"/>
                </a:cubicBezTo>
                <a:close/>
                <a:moveTo>
                  <a:pt x="1035136" y="41314"/>
                </a:moveTo>
                <a:cubicBezTo>
                  <a:pt x="1035983" y="41314"/>
                  <a:pt x="1036943" y="41363"/>
                  <a:pt x="1038018" y="41460"/>
                </a:cubicBezTo>
                <a:cubicBezTo>
                  <a:pt x="1039092" y="41558"/>
                  <a:pt x="1040215" y="41737"/>
                  <a:pt x="1041387" y="41998"/>
                </a:cubicBezTo>
                <a:cubicBezTo>
                  <a:pt x="1042559" y="42258"/>
                  <a:pt x="1043617" y="42551"/>
                  <a:pt x="1044561" y="42877"/>
                </a:cubicBezTo>
                <a:cubicBezTo>
                  <a:pt x="1045506" y="43202"/>
                  <a:pt x="1046173" y="43528"/>
                  <a:pt x="1046564" y="43853"/>
                </a:cubicBezTo>
                <a:cubicBezTo>
                  <a:pt x="1046954" y="44179"/>
                  <a:pt x="1047215" y="44488"/>
                  <a:pt x="1047345" y="44781"/>
                </a:cubicBezTo>
                <a:cubicBezTo>
                  <a:pt x="1047475" y="45074"/>
                  <a:pt x="1047589" y="45448"/>
                  <a:pt x="1047687" y="45904"/>
                </a:cubicBezTo>
                <a:cubicBezTo>
                  <a:pt x="1047784" y="46360"/>
                  <a:pt x="1047850" y="47027"/>
                  <a:pt x="1047882" y="47906"/>
                </a:cubicBezTo>
                <a:cubicBezTo>
                  <a:pt x="1047915" y="48785"/>
                  <a:pt x="1047931" y="49974"/>
                  <a:pt x="1047931" y="51471"/>
                </a:cubicBezTo>
                <a:cubicBezTo>
                  <a:pt x="1047931" y="52904"/>
                  <a:pt x="1047899" y="54108"/>
                  <a:pt x="1047833" y="55085"/>
                </a:cubicBezTo>
                <a:cubicBezTo>
                  <a:pt x="1047768" y="56062"/>
                  <a:pt x="1047638" y="56827"/>
                  <a:pt x="1047443" y="57380"/>
                </a:cubicBezTo>
                <a:cubicBezTo>
                  <a:pt x="1047247" y="57934"/>
                  <a:pt x="1047003" y="58357"/>
                  <a:pt x="1046710" y="58650"/>
                </a:cubicBezTo>
                <a:cubicBezTo>
                  <a:pt x="1046417" y="58943"/>
                  <a:pt x="1046010" y="59090"/>
                  <a:pt x="1045489" y="59090"/>
                </a:cubicBezTo>
                <a:cubicBezTo>
                  <a:pt x="1044968" y="59090"/>
                  <a:pt x="1044333" y="58943"/>
                  <a:pt x="1043585" y="58650"/>
                </a:cubicBezTo>
                <a:cubicBezTo>
                  <a:pt x="1042836" y="58357"/>
                  <a:pt x="1041990" y="58064"/>
                  <a:pt x="1041045" y="57771"/>
                </a:cubicBezTo>
                <a:cubicBezTo>
                  <a:pt x="1040101" y="57478"/>
                  <a:pt x="1039043" y="57201"/>
                  <a:pt x="1037871" y="56941"/>
                </a:cubicBezTo>
                <a:cubicBezTo>
                  <a:pt x="1036699" y="56680"/>
                  <a:pt x="1035429" y="56550"/>
                  <a:pt x="1034062" y="56550"/>
                </a:cubicBezTo>
                <a:cubicBezTo>
                  <a:pt x="1032434" y="56550"/>
                  <a:pt x="1030839" y="56876"/>
                  <a:pt x="1029276" y="57527"/>
                </a:cubicBezTo>
                <a:cubicBezTo>
                  <a:pt x="1027714" y="58178"/>
                  <a:pt x="1026070" y="59252"/>
                  <a:pt x="1024344" y="60750"/>
                </a:cubicBezTo>
                <a:cubicBezTo>
                  <a:pt x="1022619" y="62247"/>
                  <a:pt x="1020812" y="64233"/>
                  <a:pt x="1018924" y="66708"/>
                </a:cubicBezTo>
                <a:cubicBezTo>
                  <a:pt x="1017035" y="69182"/>
                  <a:pt x="1014952" y="72210"/>
                  <a:pt x="1012673" y="75791"/>
                </a:cubicBezTo>
                <a:lnTo>
                  <a:pt x="1012673" y="133611"/>
                </a:lnTo>
                <a:cubicBezTo>
                  <a:pt x="1012673" y="134131"/>
                  <a:pt x="1012542" y="134571"/>
                  <a:pt x="1012282" y="134929"/>
                </a:cubicBezTo>
                <a:cubicBezTo>
                  <a:pt x="1012022" y="135287"/>
                  <a:pt x="1011598" y="135596"/>
                  <a:pt x="1011012" y="135857"/>
                </a:cubicBezTo>
                <a:cubicBezTo>
                  <a:pt x="1010426" y="136117"/>
                  <a:pt x="1009612" y="136313"/>
                  <a:pt x="1008571" y="136443"/>
                </a:cubicBezTo>
                <a:cubicBezTo>
                  <a:pt x="1007529" y="136573"/>
                  <a:pt x="1006194" y="136638"/>
                  <a:pt x="1004566" y="136638"/>
                </a:cubicBezTo>
                <a:cubicBezTo>
                  <a:pt x="1003003" y="136638"/>
                  <a:pt x="1001701" y="136573"/>
                  <a:pt x="1000659" y="136443"/>
                </a:cubicBezTo>
                <a:cubicBezTo>
                  <a:pt x="999618" y="136313"/>
                  <a:pt x="998788" y="136117"/>
                  <a:pt x="998169" y="135857"/>
                </a:cubicBezTo>
                <a:cubicBezTo>
                  <a:pt x="997550" y="135596"/>
                  <a:pt x="997127" y="135287"/>
                  <a:pt x="996899" y="134929"/>
                </a:cubicBezTo>
                <a:cubicBezTo>
                  <a:pt x="996671" y="134571"/>
                  <a:pt x="996557" y="134131"/>
                  <a:pt x="996557" y="133611"/>
                </a:cubicBezTo>
                <a:lnTo>
                  <a:pt x="996557" y="45709"/>
                </a:lnTo>
                <a:cubicBezTo>
                  <a:pt x="996557" y="45188"/>
                  <a:pt x="996655" y="44749"/>
                  <a:pt x="996850" y="44390"/>
                </a:cubicBezTo>
                <a:cubicBezTo>
                  <a:pt x="997046" y="44032"/>
                  <a:pt x="997436" y="43707"/>
                  <a:pt x="998022" y="43414"/>
                </a:cubicBezTo>
                <a:cubicBezTo>
                  <a:pt x="998608" y="43121"/>
                  <a:pt x="999357" y="42925"/>
                  <a:pt x="1000269" y="42828"/>
                </a:cubicBezTo>
                <a:cubicBezTo>
                  <a:pt x="1001180" y="42730"/>
                  <a:pt x="1002385" y="42681"/>
                  <a:pt x="1003883" y="42681"/>
                </a:cubicBezTo>
                <a:cubicBezTo>
                  <a:pt x="1005315" y="42681"/>
                  <a:pt x="1006503" y="42730"/>
                  <a:pt x="1007447" y="42828"/>
                </a:cubicBezTo>
                <a:cubicBezTo>
                  <a:pt x="1008392" y="42925"/>
                  <a:pt x="1009124" y="43121"/>
                  <a:pt x="1009645" y="43414"/>
                </a:cubicBezTo>
                <a:cubicBezTo>
                  <a:pt x="1010166" y="43707"/>
                  <a:pt x="1010540" y="44032"/>
                  <a:pt x="1010768" y="44390"/>
                </a:cubicBezTo>
                <a:cubicBezTo>
                  <a:pt x="1010996" y="44749"/>
                  <a:pt x="1011110" y="45188"/>
                  <a:pt x="1011110" y="45709"/>
                </a:cubicBezTo>
                <a:lnTo>
                  <a:pt x="1011110" y="58503"/>
                </a:lnTo>
                <a:cubicBezTo>
                  <a:pt x="1013519" y="54987"/>
                  <a:pt x="1015782" y="52122"/>
                  <a:pt x="1017898" y="49909"/>
                </a:cubicBezTo>
                <a:cubicBezTo>
                  <a:pt x="1020014" y="47695"/>
                  <a:pt x="1022016" y="45953"/>
                  <a:pt x="1023905" y="44683"/>
                </a:cubicBezTo>
                <a:cubicBezTo>
                  <a:pt x="1025793" y="43414"/>
                  <a:pt x="1027665" y="42535"/>
                  <a:pt x="1029521" y="42046"/>
                </a:cubicBezTo>
                <a:cubicBezTo>
                  <a:pt x="1031376" y="41558"/>
                  <a:pt x="1033248" y="41314"/>
                  <a:pt x="1035136" y="41314"/>
                </a:cubicBezTo>
                <a:close/>
                <a:moveTo>
                  <a:pt x="932854" y="41314"/>
                </a:moveTo>
                <a:cubicBezTo>
                  <a:pt x="939170" y="41314"/>
                  <a:pt x="944542" y="42030"/>
                  <a:pt x="948970" y="43463"/>
                </a:cubicBezTo>
                <a:cubicBezTo>
                  <a:pt x="953397" y="44895"/>
                  <a:pt x="956978" y="46995"/>
                  <a:pt x="959713" y="49762"/>
                </a:cubicBezTo>
                <a:cubicBezTo>
                  <a:pt x="962448" y="52529"/>
                  <a:pt x="964434" y="55964"/>
                  <a:pt x="965671" y="60066"/>
                </a:cubicBezTo>
                <a:cubicBezTo>
                  <a:pt x="966908" y="64168"/>
                  <a:pt x="967527" y="68954"/>
                  <a:pt x="967527" y="74423"/>
                </a:cubicBezTo>
                <a:lnTo>
                  <a:pt x="967527" y="133708"/>
                </a:lnTo>
                <a:cubicBezTo>
                  <a:pt x="967527" y="134490"/>
                  <a:pt x="967266" y="135076"/>
                  <a:pt x="966745" y="135466"/>
                </a:cubicBezTo>
                <a:cubicBezTo>
                  <a:pt x="966224" y="135857"/>
                  <a:pt x="965508" y="136150"/>
                  <a:pt x="964597" y="136345"/>
                </a:cubicBezTo>
                <a:cubicBezTo>
                  <a:pt x="963685" y="136541"/>
                  <a:pt x="962350" y="136638"/>
                  <a:pt x="960592" y="136638"/>
                </a:cubicBezTo>
                <a:cubicBezTo>
                  <a:pt x="958899" y="136638"/>
                  <a:pt x="957548" y="136541"/>
                  <a:pt x="956539" y="136345"/>
                </a:cubicBezTo>
                <a:cubicBezTo>
                  <a:pt x="955530" y="136150"/>
                  <a:pt x="954797" y="135857"/>
                  <a:pt x="954341" y="135466"/>
                </a:cubicBezTo>
                <a:cubicBezTo>
                  <a:pt x="953886" y="135076"/>
                  <a:pt x="953658" y="134490"/>
                  <a:pt x="953658" y="133708"/>
                </a:cubicBezTo>
                <a:lnTo>
                  <a:pt x="953658" y="124918"/>
                </a:lnTo>
                <a:cubicBezTo>
                  <a:pt x="949816" y="129020"/>
                  <a:pt x="945535" y="132211"/>
                  <a:pt x="940814" y="134490"/>
                </a:cubicBezTo>
                <a:cubicBezTo>
                  <a:pt x="936094" y="136768"/>
                  <a:pt x="931096" y="137908"/>
                  <a:pt x="925822" y="137908"/>
                </a:cubicBezTo>
                <a:cubicBezTo>
                  <a:pt x="921199" y="137908"/>
                  <a:pt x="917016" y="137306"/>
                  <a:pt x="913272" y="136101"/>
                </a:cubicBezTo>
                <a:cubicBezTo>
                  <a:pt x="909528" y="134896"/>
                  <a:pt x="906337" y="133155"/>
                  <a:pt x="903700" y="130876"/>
                </a:cubicBezTo>
                <a:cubicBezTo>
                  <a:pt x="901063" y="128597"/>
                  <a:pt x="899012" y="125797"/>
                  <a:pt x="897547" y="122476"/>
                </a:cubicBezTo>
                <a:cubicBezTo>
                  <a:pt x="896082" y="119156"/>
                  <a:pt x="895350" y="115379"/>
                  <a:pt x="895350" y="111147"/>
                </a:cubicBezTo>
                <a:cubicBezTo>
                  <a:pt x="895350" y="106198"/>
                  <a:pt x="896359" y="101901"/>
                  <a:pt x="898377" y="98255"/>
                </a:cubicBezTo>
                <a:cubicBezTo>
                  <a:pt x="900396" y="94608"/>
                  <a:pt x="903293" y="91581"/>
                  <a:pt x="907070" y="89171"/>
                </a:cubicBezTo>
                <a:cubicBezTo>
                  <a:pt x="910846" y="86762"/>
                  <a:pt x="915469" y="84955"/>
                  <a:pt x="920939" y="83751"/>
                </a:cubicBezTo>
                <a:cubicBezTo>
                  <a:pt x="926408" y="82546"/>
                  <a:pt x="932561" y="81944"/>
                  <a:pt x="939398" y="81944"/>
                </a:cubicBezTo>
                <a:lnTo>
                  <a:pt x="951509" y="81944"/>
                </a:lnTo>
                <a:lnTo>
                  <a:pt x="951509" y="75107"/>
                </a:lnTo>
                <a:cubicBezTo>
                  <a:pt x="951509" y="71721"/>
                  <a:pt x="951151" y="68726"/>
                  <a:pt x="950435" y="66122"/>
                </a:cubicBezTo>
                <a:cubicBezTo>
                  <a:pt x="949719" y="63517"/>
                  <a:pt x="948563" y="61352"/>
                  <a:pt x="946967" y="59627"/>
                </a:cubicBezTo>
                <a:cubicBezTo>
                  <a:pt x="945372" y="57901"/>
                  <a:pt x="943305" y="56599"/>
                  <a:pt x="940765" y="55720"/>
                </a:cubicBezTo>
                <a:cubicBezTo>
                  <a:pt x="938226" y="54841"/>
                  <a:pt x="935101" y="54401"/>
                  <a:pt x="931389" y="54401"/>
                </a:cubicBezTo>
                <a:cubicBezTo>
                  <a:pt x="927417" y="54401"/>
                  <a:pt x="923853" y="54873"/>
                  <a:pt x="920695" y="55818"/>
                </a:cubicBezTo>
                <a:cubicBezTo>
                  <a:pt x="917537" y="56762"/>
                  <a:pt x="914769" y="57804"/>
                  <a:pt x="912393" y="58943"/>
                </a:cubicBezTo>
                <a:cubicBezTo>
                  <a:pt x="910016" y="60082"/>
                  <a:pt x="908030" y="61124"/>
                  <a:pt x="906435" y="62068"/>
                </a:cubicBezTo>
                <a:cubicBezTo>
                  <a:pt x="904840" y="63013"/>
                  <a:pt x="903651" y="63485"/>
                  <a:pt x="902870" y="63485"/>
                </a:cubicBezTo>
                <a:cubicBezTo>
                  <a:pt x="902349" y="63485"/>
                  <a:pt x="901893" y="63354"/>
                  <a:pt x="901503" y="63094"/>
                </a:cubicBezTo>
                <a:cubicBezTo>
                  <a:pt x="901112" y="62833"/>
                  <a:pt x="900770" y="62443"/>
                  <a:pt x="900477" y="61922"/>
                </a:cubicBezTo>
                <a:cubicBezTo>
                  <a:pt x="900184" y="61401"/>
                  <a:pt x="899973" y="60734"/>
                  <a:pt x="899842" y="59920"/>
                </a:cubicBezTo>
                <a:cubicBezTo>
                  <a:pt x="899712" y="59106"/>
                  <a:pt x="899647" y="58210"/>
                  <a:pt x="899647" y="57234"/>
                </a:cubicBezTo>
                <a:cubicBezTo>
                  <a:pt x="899647" y="55606"/>
                  <a:pt x="899761" y="54320"/>
                  <a:pt x="899989" y="53376"/>
                </a:cubicBezTo>
                <a:cubicBezTo>
                  <a:pt x="900217" y="52432"/>
                  <a:pt x="900770" y="51536"/>
                  <a:pt x="901649" y="50690"/>
                </a:cubicBezTo>
                <a:cubicBezTo>
                  <a:pt x="902528" y="49844"/>
                  <a:pt x="904042" y="48851"/>
                  <a:pt x="906191" y="47711"/>
                </a:cubicBezTo>
                <a:cubicBezTo>
                  <a:pt x="908339" y="46572"/>
                  <a:pt x="910814" y="45530"/>
                  <a:pt x="913614" y="44586"/>
                </a:cubicBezTo>
                <a:cubicBezTo>
                  <a:pt x="916413" y="43642"/>
                  <a:pt x="919474" y="42860"/>
                  <a:pt x="922794" y="42242"/>
                </a:cubicBezTo>
                <a:cubicBezTo>
                  <a:pt x="926115" y="41623"/>
                  <a:pt x="929468" y="41314"/>
                  <a:pt x="932854" y="41314"/>
                </a:cubicBezTo>
                <a:close/>
                <a:moveTo>
                  <a:pt x="737173" y="41314"/>
                </a:moveTo>
                <a:cubicBezTo>
                  <a:pt x="743554" y="41314"/>
                  <a:pt x="748991" y="42551"/>
                  <a:pt x="753484" y="45025"/>
                </a:cubicBezTo>
                <a:cubicBezTo>
                  <a:pt x="757977" y="47500"/>
                  <a:pt x="761639" y="50885"/>
                  <a:pt x="764472" y="55183"/>
                </a:cubicBezTo>
                <a:cubicBezTo>
                  <a:pt x="767304" y="59480"/>
                  <a:pt x="769371" y="64478"/>
                  <a:pt x="770673" y="70175"/>
                </a:cubicBezTo>
                <a:cubicBezTo>
                  <a:pt x="771976" y="75872"/>
                  <a:pt x="772627" y="81911"/>
                  <a:pt x="772627" y="88292"/>
                </a:cubicBezTo>
                <a:cubicBezTo>
                  <a:pt x="772627" y="95976"/>
                  <a:pt x="771797" y="102878"/>
                  <a:pt x="770136" y="108998"/>
                </a:cubicBezTo>
                <a:cubicBezTo>
                  <a:pt x="768476" y="115119"/>
                  <a:pt x="766034" y="120311"/>
                  <a:pt x="762811" y="124576"/>
                </a:cubicBezTo>
                <a:cubicBezTo>
                  <a:pt x="759588" y="128841"/>
                  <a:pt x="755600" y="132129"/>
                  <a:pt x="750847" y="134441"/>
                </a:cubicBezTo>
                <a:cubicBezTo>
                  <a:pt x="746094" y="136752"/>
                  <a:pt x="740657" y="137908"/>
                  <a:pt x="734536" y="137908"/>
                </a:cubicBezTo>
                <a:cubicBezTo>
                  <a:pt x="731932" y="137908"/>
                  <a:pt x="729523" y="137647"/>
                  <a:pt x="727309" y="137127"/>
                </a:cubicBezTo>
                <a:cubicBezTo>
                  <a:pt x="725095" y="136606"/>
                  <a:pt x="722930" y="135792"/>
                  <a:pt x="720814" y="134685"/>
                </a:cubicBezTo>
                <a:cubicBezTo>
                  <a:pt x="718698" y="133578"/>
                  <a:pt x="716598" y="132178"/>
                  <a:pt x="714514" y="130485"/>
                </a:cubicBezTo>
                <a:cubicBezTo>
                  <a:pt x="712431" y="128792"/>
                  <a:pt x="710217" y="126806"/>
                  <a:pt x="707873" y="124527"/>
                </a:cubicBezTo>
                <a:lnTo>
                  <a:pt x="707873" y="168478"/>
                </a:lnTo>
                <a:cubicBezTo>
                  <a:pt x="707873" y="168999"/>
                  <a:pt x="707742" y="169455"/>
                  <a:pt x="707482" y="169846"/>
                </a:cubicBezTo>
                <a:cubicBezTo>
                  <a:pt x="707222" y="170236"/>
                  <a:pt x="706798" y="170562"/>
                  <a:pt x="706212" y="170822"/>
                </a:cubicBezTo>
                <a:cubicBezTo>
                  <a:pt x="705626" y="171083"/>
                  <a:pt x="704812" y="171278"/>
                  <a:pt x="703771" y="171408"/>
                </a:cubicBezTo>
                <a:cubicBezTo>
                  <a:pt x="702729" y="171538"/>
                  <a:pt x="701394" y="171604"/>
                  <a:pt x="699766" y="171604"/>
                </a:cubicBezTo>
                <a:cubicBezTo>
                  <a:pt x="698204" y="171604"/>
                  <a:pt x="696901" y="171538"/>
                  <a:pt x="695859" y="171408"/>
                </a:cubicBezTo>
                <a:cubicBezTo>
                  <a:pt x="694818" y="171278"/>
                  <a:pt x="693988" y="171083"/>
                  <a:pt x="693369" y="170822"/>
                </a:cubicBezTo>
                <a:cubicBezTo>
                  <a:pt x="692750" y="170562"/>
                  <a:pt x="692327" y="170236"/>
                  <a:pt x="692099" y="169846"/>
                </a:cubicBezTo>
                <a:cubicBezTo>
                  <a:pt x="691871" y="169455"/>
                  <a:pt x="691757" y="168999"/>
                  <a:pt x="691757" y="168478"/>
                </a:cubicBezTo>
                <a:lnTo>
                  <a:pt x="691757" y="45709"/>
                </a:lnTo>
                <a:cubicBezTo>
                  <a:pt x="691757" y="45123"/>
                  <a:pt x="691855" y="44651"/>
                  <a:pt x="692050" y="44293"/>
                </a:cubicBezTo>
                <a:cubicBezTo>
                  <a:pt x="692246" y="43935"/>
                  <a:pt x="692636" y="43625"/>
                  <a:pt x="693222" y="43365"/>
                </a:cubicBezTo>
                <a:cubicBezTo>
                  <a:pt x="693808" y="43104"/>
                  <a:pt x="694557" y="42925"/>
                  <a:pt x="695469" y="42828"/>
                </a:cubicBezTo>
                <a:cubicBezTo>
                  <a:pt x="696380" y="42730"/>
                  <a:pt x="697487" y="42681"/>
                  <a:pt x="698789" y="42681"/>
                </a:cubicBezTo>
                <a:cubicBezTo>
                  <a:pt x="700157" y="42681"/>
                  <a:pt x="701280" y="42730"/>
                  <a:pt x="702159" y="42828"/>
                </a:cubicBezTo>
                <a:cubicBezTo>
                  <a:pt x="703038" y="42925"/>
                  <a:pt x="703771" y="43104"/>
                  <a:pt x="704357" y="43365"/>
                </a:cubicBezTo>
                <a:cubicBezTo>
                  <a:pt x="704943" y="43625"/>
                  <a:pt x="705350" y="43935"/>
                  <a:pt x="705578" y="44293"/>
                </a:cubicBezTo>
                <a:cubicBezTo>
                  <a:pt x="705805" y="44651"/>
                  <a:pt x="705919" y="45123"/>
                  <a:pt x="705919" y="45709"/>
                </a:cubicBezTo>
                <a:lnTo>
                  <a:pt x="705919" y="57527"/>
                </a:lnTo>
                <a:cubicBezTo>
                  <a:pt x="708589" y="54792"/>
                  <a:pt x="711161" y="52415"/>
                  <a:pt x="713635" y="50397"/>
                </a:cubicBezTo>
                <a:cubicBezTo>
                  <a:pt x="716109" y="48379"/>
                  <a:pt x="718600" y="46702"/>
                  <a:pt x="721107" y="45367"/>
                </a:cubicBezTo>
                <a:cubicBezTo>
                  <a:pt x="723614" y="44032"/>
                  <a:pt x="726186" y="43023"/>
                  <a:pt x="728823" y="42339"/>
                </a:cubicBezTo>
                <a:cubicBezTo>
                  <a:pt x="731460" y="41656"/>
                  <a:pt x="734243" y="41314"/>
                  <a:pt x="737173" y="41314"/>
                </a:cubicBezTo>
                <a:close/>
                <a:moveTo>
                  <a:pt x="642709" y="41314"/>
                </a:moveTo>
                <a:cubicBezTo>
                  <a:pt x="645053" y="41314"/>
                  <a:pt x="647397" y="41509"/>
                  <a:pt x="649741" y="41900"/>
                </a:cubicBezTo>
                <a:cubicBezTo>
                  <a:pt x="652085" y="42291"/>
                  <a:pt x="654202" y="42779"/>
                  <a:pt x="656090" y="43365"/>
                </a:cubicBezTo>
                <a:cubicBezTo>
                  <a:pt x="657978" y="43951"/>
                  <a:pt x="659590" y="44586"/>
                  <a:pt x="660924" y="45269"/>
                </a:cubicBezTo>
                <a:cubicBezTo>
                  <a:pt x="662259" y="45953"/>
                  <a:pt x="663268" y="46555"/>
                  <a:pt x="663952" y="47076"/>
                </a:cubicBezTo>
                <a:cubicBezTo>
                  <a:pt x="664636" y="47597"/>
                  <a:pt x="665092" y="48053"/>
                  <a:pt x="665320" y="48444"/>
                </a:cubicBezTo>
                <a:cubicBezTo>
                  <a:pt x="665547" y="48834"/>
                  <a:pt x="665710" y="49274"/>
                  <a:pt x="665808" y="49762"/>
                </a:cubicBezTo>
                <a:cubicBezTo>
                  <a:pt x="665906" y="50251"/>
                  <a:pt x="666003" y="50853"/>
                  <a:pt x="666101" y="51569"/>
                </a:cubicBezTo>
                <a:cubicBezTo>
                  <a:pt x="666199" y="52285"/>
                  <a:pt x="666247" y="53164"/>
                  <a:pt x="666247" y="54206"/>
                </a:cubicBezTo>
                <a:cubicBezTo>
                  <a:pt x="666247" y="55313"/>
                  <a:pt x="666199" y="56273"/>
                  <a:pt x="666101" y="57087"/>
                </a:cubicBezTo>
                <a:cubicBezTo>
                  <a:pt x="666003" y="57901"/>
                  <a:pt x="665840" y="58569"/>
                  <a:pt x="665612" y="59090"/>
                </a:cubicBezTo>
                <a:cubicBezTo>
                  <a:pt x="665385" y="59610"/>
                  <a:pt x="665108" y="59985"/>
                  <a:pt x="664782" y="60213"/>
                </a:cubicBezTo>
                <a:cubicBezTo>
                  <a:pt x="664457" y="60441"/>
                  <a:pt x="664099" y="60555"/>
                  <a:pt x="663708" y="60555"/>
                </a:cubicBezTo>
                <a:cubicBezTo>
                  <a:pt x="663122" y="60555"/>
                  <a:pt x="662275" y="60196"/>
                  <a:pt x="661169" y="59480"/>
                </a:cubicBezTo>
                <a:cubicBezTo>
                  <a:pt x="660062" y="58764"/>
                  <a:pt x="658629" y="57999"/>
                  <a:pt x="656871" y="57185"/>
                </a:cubicBezTo>
                <a:cubicBezTo>
                  <a:pt x="655113" y="56371"/>
                  <a:pt x="653046" y="55606"/>
                  <a:pt x="650669" y="54890"/>
                </a:cubicBezTo>
                <a:cubicBezTo>
                  <a:pt x="648293" y="54174"/>
                  <a:pt x="645574" y="53815"/>
                  <a:pt x="642514" y="53815"/>
                </a:cubicBezTo>
                <a:cubicBezTo>
                  <a:pt x="639779" y="53815"/>
                  <a:pt x="637370" y="54125"/>
                  <a:pt x="635286" y="54743"/>
                </a:cubicBezTo>
                <a:cubicBezTo>
                  <a:pt x="633203" y="55362"/>
                  <a:pt x="631494" y="56241"/>
                  <a:pt x="630159" y="57380"/>
                </a:cubicBezTo>
                <a:cubicBezTo>
                  <a:pt x="628824" y="58520"/>
                  <a:pt x="627815" y="59871"/>
                  <a:pt x="627131" y="61434"/>
                </a:cubicBezTo>
                <a:cubicBezTo>
                  <a:pt x="626447" y="62996"/>
                  <a:pt x="626106" y="64689"/>
                  <a:pt x="626106" y="66512"/>
                </a:cubicBezTo>
                <a:cubicBezTo>
                  <a:pt x="626106" y="69052"/>
                  <a:pt x="626757" y="71184"/>
                  <a:pt x="628059" y="72910"/>
                </a:cubicBezTo>
                <a:cubicBezTo>
                  <a:pt x="629361" y="74635"/>
                  <a:pt x="631054" y="76149"/>
                  <a:pt x="633138" y="77451"/>
                </a:cubicBezTo>
                <a:cubicBezTo>
                  <a:pt x="635221" y="78753"/>
                  <a:pt x="637598" y="79925"/>
                  <a:pt x="640267" y="80967"/>
                </a:cubicBezTo>
                <a:cubicBezTo>
                  <a:pt x="642937" y="82009"/>
                  <a:pt x="645656" y="83083"/>
                  <a:pt x="648423" y="84190"/>
                </a:cubicBezTo>
                <a:cubicBezTo>
                  <a:pt x="651190" y="85297"/>
                  <a:pt x="653925" y="86534"/>
                  <a:pt x="656627" y="87902"/>
                </a:cubicBezTo>
                <a:cubicBezTo>
                  <a:pt x="659329" y="89269"/>
                  <a:pt x="661722" y="90929"/>
                  <a:pt x="663806" y="92883"/>
                </a:cubicBezTo>
                <a:cubicBezTo>
                  <a:pt x="665889" y="94836"/>
                  <a:pt x="667566" y="97180"/>
                  <a:pt x="668836" y="99915"/>
                </a:cubicBezTo>
                <a:cubicBezTo>
                  <a:pt x="670105" y="102650"/>
                  <a:pt x="670740" y="105905"/>
                  <a:pt x="670740" y="109682"/>
                </a:cubicBezTo>
                <a:cubicBezTo>
                  <a:pt x="670740" y="114175"/>
                  <a:pt x="669910" y="118179"/>
                  <a:pt x="668250" y="121695"/>
                </a:cubicBezTo>
                <a:cubicBezTo>
                  <a:pt x="666589" y="125211"/>
                  <a:pt x="664229" y="128174"/>
                  <a:pt x="661169" y="130583"/>
                </a:cubicBezTo>
                <a:cubicBezTo>
                  <a:pt x="658108" y="132992"/>
                  <a:pt x="654462" y="134815"/>
                  <a:pt x="650230" y="136052"/>
                </a:cubicBezTo>
                <a:cubicBezTo>
                  <a:pt x="645997" y="137289"/>
                  <a:pt x="641342" y="137908"/>
                  <a:pt x="636263" y="137908"/>
                </a:cubicBezTo>
                <a:cubicBezTo>
                  <a:pt x="633138" y="137908"/>
                  <a:pt x="630159" y="137664"/>
                  <a:pt x="627326" y="137175"/>
                </a:cubicBezTo>
                <a:cubicBezTo>
                  <a:pt x="624494" y="136687"/>
                  <a:pt x="621955" y="136069"/>
                  <a:pt x="619708" y="135320"/>
                </a:cubicBezTo>
                <a:cubicBezTo>
                  <a:pt x="617462" y="134571"/>
                  <a:pt x="615557" y="133790"/>
                  <a:pt x="613995" y="132976"/>
                </a:cubicBezTo>
                <a:cubicBezTo>
                  <a:pt x="612432" y="132162"/>
                  <a:pt x="611293" y="131429"/>
                  <a:pt x="610576" y="130778"/>
                </a:cubicBezTo>
                <a:cubicBezTo>
                  <a:pt x="609860" y="130127"/>
                  <a:pt x="609339" y="129215"/>
                  <a:pt x="609014" y="128043"/>
                </a:cubicBezTo>
                <a:cubicBezTo>
                  <a:pt x="608688" y="126871"/>
                  <a:pt x="608525" y="125276"/>
                  <a:pt x="608525" y="123258"/>
                </a:cubicBezTo>
                <a:cubicBezTo>
                  <a:pt x="608525" y="122021"/>
                  <a:pt x="608590" y="120979"/>
                  <a:pt x="608721" y="120132"/>
                </a:cubicBezTo>
                <a:cubicBezTo>
                  <a:pt x="608851" y="119286"/>
                  <a:pt x="609014" y="118602"/>
                  <a:pt x="609209" y="118081"/>
                </a:cubicBezTo>
                <a:cubicBezTo>
                  <a:pt x="609404" y="117560"/>
                  <a:pt x="609681" y="117186"/>
                  <a:pt x="610039" y="116958"/>
                </a:cubicBezTo>
                <a:cubicBezTo>
                  <a:pt x="610397" y="116730"/>
                  <a:pt x="610804" y="116616"/>
                  <a:pt x="611260" y="116616"/>
                </a:cubicBezTo>
                <a:cubicBezTo>
                  <a:pt x="611976" y="116616"/>
                  <a:pt x="613034" y="117056"/>
                  <a:pt x="614434" y="117935"/>
                </a:cubicBezTo>
                <a:cubicBezTo>
                  <a:pt x="615834" y="118814"/>
                  <a:pt x="617560" y="119774"/>
                  <a:pt x="619611" y="120816"/>
                </a:cubicBezTo>
                <a:cubicBezTo>
                  <a:pt x="621662" y="121858"/>
                  <a:pt x="624087" y="122818"/>
                  <a:pt x="626887" y="123697"/>
                </a:cubicBezTo>
                <a:cubicBezTo>
                  <a:pt x="629687" y="124576"/>
                  <a:pt x="632910" y="125016"/>
                  <a:pt x="636556" y="125016"/>
                </a:cubicBezTo>
                <a:cubicBezTo>
                  <a:pt x="639291" y="125016"/>
                  <a:pt x="641765" y="124723"/>
                  <a:pt x="643979" y="124137"/>
                </a:cubicBezTo>
                <a:cubicBezTo>
                  <a:pt x="646193" y="123551"/>
                  <a:pt x="648114" y="122688"/>
                  <a:pt x="649741" y="121548"/>
                </a:cubicBezTo>
                <a:cubicBezTo>
                  <a:pt x="651369" y="120409"/>
                  <a:pt x="652623" y="118960"/>
                  <a:pt x="653502" y="117202"/>
                </a:cubicBezTo>
                <a:cubicBezTo>
                  <a:pt x="654381" y="115444"/>
                  <a:pt x="654820" y="113361"/>
                  <a:pt x="654820" y="110951"/>
                </a:cubicBezTo>
                <a:cubicBezTo>
                  <a:pt x="654820" y="108477"/>
                  <a:pt x="654185" y="106394"/>
                  <a:pt x="652916" y="104701"/>
                </a:cubicBezTo>
                <a:cubicBezTo>
                  <a:pt x="651646" y="103008"/>
                  <a:pt x="649969" y="101510"/>
                  <a:pt x="647886" y="100208"/>
                </a:cubicBezTo>
                <a:cubicBezTo>
                  <a:pt x="645802" y="98906"/>
                  <a:pt x="643458" y="97750"/>
                  <a:pt x="640854" y="96741"/>
                </a:cubicBezTo>
                <a:cubicBezTo>
                  <a:pt x="638249" y="95731"/>
                  <a:pt x="635563" y="94673"/>
                  <a:pt x="632796" y="93566"/>
                </a:cubicBezTo>
                <a:cubicBezTo>
                  <a:pt x="630029" y="92460"/>
                  <a:pt x="627326" y="91206"/>
                  <a:pt x="624689" y="89806"/>
                </a:cubicBezTo>
                <a:cubicBezTo>
                  <a:pt x="622052" y="88406"/>
                  <a:pt x="619692" y="86697"/>
                  <a:pt x="617608" y="84679"/>
                </a:cubicBezTo>
                <a:cubicBezTo>
                  <a:pt x="615525" y="82660"/>
                  <a:pt x="613848" y="80251"/>
                  <a:pt x="612578" y="77451"/>
                </a:cubicBezTo>
                <a:cubicBezTo>
                  <a:pt x="611309" y="74651"/>
                  <a:pt x="610674" y="71298"/>
                  <a:pt x="610674" y="67391"/>
                </a:cubicBezTo>
                <a:cubicBezTo>
                  <a:pt x="610674" y="63940"/>
                  <a:pt x="611341" y="60636"/>
                  <a:pt x="612676" y="57478"/>
                </a:cubicBezTo>
                <a:cubicBezTo>
                  <a:pt x="614011" y="54320"/>
                  <a:pt x="616013" y="51553"/>
                  <a:pt x="618683" y="49176"/>
                </a:cubicBezTo>
                <a:cubicBezTo>
                  <a:pt x="621352" y="46800"/>
                  <a:pt x="624689" y="44895"/>
                  <a:pt x="628694" y="43463"/>
                </a:cubicBezTo>
                <a:cubicBezTo>
                  <a:pt x="632698" y="42030"/>
                  <a:pt x="637370" y="41314"/>
                  <a:pt x="642709" y="41314"/>
                </a:cubicBezTo>
                <a:close/>
                <a:moveTo>
                  <a:pt x="402626" y="41314"/>
                </a:moveTo>
                <a:cubicBezTo>
                  <a:pt x="408486" y="41314"/>
                  <a:pt x="413419" y="42307"/>
                  <a:pt x="417423" y="44293"/>
                </a:cubicBezTo>
                <a:cubicBezTo>
                  <a:pt x="421427" y="46279"/>
                  <a:pt x="424667" y="48932"/>
                  <a:pt x="427141" y="52253"/>
                </a:cubicBezTo>
                <a:cubicBezTo>
                  <a:pt x="429615" y="55573"/>
                  <a:pt x="431390" y="59464"/>
                  <a:pt x="432464" y="63924"/>
                </a:cubicBezTo>
                <a:cubicBezTo>
                  <a:pt x="433538" y="68384"/>
                  <a:pt x="434076" y="73740"/>
                  <a:pt x="434076" y="79991"/>
                </a:cubicBezTo>
                <a:lnTo>
                  <a:pt x="434076" y="133611"/>
                </a:lnTo>
                <a:cubicBezTo>
                  <a:pt x="434076" y="134131"/>
                  <a:pt x="433945" y="134571"/>
                  <a:pt x="433685" y="134929"/>
                </a:cubicBezTo>
                <a:cubicBezTo>
                  <a:pt x="433424" y="135287"/>
                  <a:pt x="433001" y="135596"/>
                  <a:pt x="432415" y="135857"/>
                </a:cubicBezTo>
                <a:cubicBezTo>
                  <a:pt x="431829" y="136117"/>
                  <a:pt x="431015" y="136313"/>
                  <a:pt x="429973" y="136443"/>
                </a:cubicBezTo>
                <a:cubicBezTo>
                  <a:pt x="428932" y="136573"/>
                  <a:pt x="427629" y="136638"/>
                  <a:pt x="426067" y="136638"/>
                </a:cubicBezTo>
                <a:cubicBezTo>
                  <a:pt x="424439" y="136638"/>
                  <a:pt x="423104" y="136573"/>
                  <a:pt x="422062" y="136443"/>
                </a:cubicBezTo>
                <a:cubicBezTo>
                  <a:pt x="421020" y="136313"/>
                  <a:pt x="420207" y="136117"/>
                  <a:pt x="419621" y="135857"/>
                </a:cubicBezTo>
                <a:cubicBezTo>
                  <a:pt x="419035" y="135596"/>
                  <a:pt x="418611" y="135287"/>
                  <a:pt x="418351" y="134929"/>
                </a:cubicBezTo>
                <a:cubicBezTo>
                  <a:pt x="418090" y="134571"/>
                  <a:pt x="417960" y="134131"/>
                  <a:pt x="417960" y="133611"/>
                </a:cubicBezTo>
                <a:lnTo>
                  <a:pt x="417960" y="82139"/>
                </a:lnTo>
                <a:cubicBezTo>
                  <a:pt x="417960" y="77126"/>
                  <a:pt x="417569" y="73089"/>
                  <a:pt x="416788" y="70028"/>
                </a:cubicBezTo>
                <a:cubicBezTo>
                  <a:pt x="416007" y="66968"/>
                  <a:pt x="414867" y="64331"/>
                  <a:pt x="413370" y="62117"/>
                </a:cubicBezTo>
                <a:cubicBezTo>
                  <a:pt x="411872" y="59903"/>
                  <a:pt x="409935" y="58210"/>
                  <a:pt x="407558" y="57038"/>
                </a:cubicBezTo>
                <a:cubicBezTo>
                  <a:pt x="405182" y="55866"/>
                  <a:pt x="402431" y="55280"/>
                  <a:pt x="399306" y="55280"/>
                </a:cubicBezTo>
                <a:cubicBezTo>
                  <a:pt x="395269" y="55280"/>
                  <a:pt x="391232" y="56713"/>
                  <a:pt x="387195" y="59578"/>
                </a:cubicBezTo>
                <a:cubicBezTo>
                  <a:pt x="383158" y="62443"/>
                  <a:pt x="378925" y="66643"/>
                  <a:pt x="374498" y="72177"/>
                </a:cubicBezTo>
                <a:lnTo>
                  <a:pt x="374498" y="133611"/>
                </a:lnTo>
                <a:cubicBezTo>
                  <a:pt x="374498" y="134131"/>
                  <a:pt x="374367" y="134571"/>
                  <a:pt x="374107" y="134929"/>
                </a:cubicBezTo>
                <a:cubicBezTo>
                  <a:pt x="373847" y="135287"/>
                  <a:pt x="373423" y="135596"/>
                  <a:pt x="372837" y="135857"/>
                </a:cubicBezTo>
                <a:cubicBezTo>
                  <a:pt x="372251" y="136117"/>
                  <a:pt x="371437" y="136313"/>
                  <a:pt x="370396" y="136443"/>
                </a:cubicBezTo>
                <a:cubicBezTo>
                  <a:pt x="369354" y="136573"/>
                  <a:pt x="368019" y="136638"/>
                  <a:pt x="366391" y="136638"/>
                </a:cubicBezTo>
                <a:cubicBezTo>
                  <a:pt x="364829" y="136638"/>
                  <a:pt x="363526" y="136573"/>
                  <a:pt x="362484" y="136443"/>
                </a:cubicBezTo>
                <a:cubicBezTo>
                  <a:pt x="361443" y="136313"/>
                  <a:pt x="360613" y="136117"/>
                  <a:pt x="359994" y="135857"/>
                </a:cubicBezTo>
                <a:cubicBezTo>
                  <a:pt x="359375" y="135596"/>
                  <a:pt x="358952" y="135287"/>
                  <a:pt x="358724" y="134929"/>
                </a:cubicBezTo>
                <a:cubicBezTo>
                  <a:pt x="358496" y="134571"/>
                  <a:pt x="358382" y="134131"/>
                  <a:pt x="358382" y="133611"/>
                </a:cubicBezTo>
                <a:lnTo>
                  <a:pt x="358382" y="45709"/>
                </a:lnTo>
                <a:cubicBezTo>
                  <a:pt x="358382" y="45188"/>
                  <a:pt x="358480" y="44749"/>
                  <a:pt x="358675" y="44390"/>
                </a:cubicBezTo>
                <a:cubicBezTo>
                  <a:pt x="358871" y="44032"/>
                  <a:pt x="359261" y="43707"/>
                  <a:pt x="359847" y="43414"/>
                </a:cubicBezTo>
                <a:cubicBezTo>
                  <a:pt x="360433" y="43121"/>
                  <a:pt x="361182" y="42925"/>
                  <a:pt x="362094" y="42828"/>
                </a:cubicBezTo>
                <a:cubicBezTo>
                  <a:pt x="363005" y="42730"/>
                  <a:pt x="364210" y="42681"/>
                  <a:pt x="365708" y="42681"/>
                </a:cubicBezTo>
                <a:cubicBezTo>
                  <a:pt x="367140" y="42681"/>
                  <a:pt x="368328" y="42730"/>
                  <a:pt x="369272" y="42828"/>
                </a:cubicBezTo>
                <a:cubicBezTo>
                  <a:pt x="370217" y="42925"/>
                  <a:pt x="370949" y="43121"/>
                  <a:pt x="371470" y="43414"/>
                </a:cubicBezTo>
                <a:cubicBezTo>
                  <a:pt x="371991" y="43707"/>
                  <a:pt x="372365" y="44032"/>
                  <a:pt x="372593" y="44390"/>
                </a:cubicBezTo>
                <a:cubicBezTo>
                  <a:pt x="372821" y="44749"/>
                  <a:pt x="372935" y="45188"/>
                  <a:pt x="372935" y="45709"/>
                </a:cubicBezTo>
                <a:lnTo>
                  <a:pt x="372935" y="57331"/>
                </a:lnTo>
                <a:cubicBezTo>
                  <a:pt x="377884" y="51797"/>
                  <a:pt x="382816" y="47744"/>
                  <a:pt x="387732" y="45172"/>
                </a:cubicBezTo>
                <a:cubicBezTo>
                  <a:pt x="392648" y="42600"/>
                  <a:pt x="397613" y="41314"/>
                  <a:pt x="402626" y="41314"/>
                </a:cubicBezTo>
                <a:close/>
                <a:moveTo>
                  <a:pt x="299465" y="41314"/>
                </a:moveTo>
                <a:cubicBezTo>
                  <a:pt x="306367" y="41314"/>
                  <a:pt x="312243" y="42421"/>
                  <a:pt x="317094" y="44635"/>
                </a:cubicBezTo>
                <a:cubicBezTo>
                  <a:pt x="321945" y="46848"/>
                  <a:pt x="325933" y="49827"/>
                  <a:pt x="329059" y="53571"/>
                </a:cubicBezTo>
                <a:cubicBezTo>
                  <a:pt x="332184" y="57315"/>
                  <a:pt x="334479" y="61710"/>
                  <a:pt x="335944" y="66756"/>
                </a:cubicBezTo>
                <a:cubicBezTo>
                  <a:pt x="337409" y="71803"/>
                  <a:pt x="338142" y="77191"/>
                  <a:pt x="338142" y="82921"/>
                </a:cubicBezTo>
                <a:lnTo>
                  <a:pt x="338142" y="85851"/>
                </a:lnTo>
                <a:cubicBezTo>
                  <a:pt x="338142" y="88390"/>
                  <a:pt x="337504" y="90197"/>
                  <a:pt x="336229" y="91271"/>
                </a:cubicBezTo>
                <a:cubicBezTo>
                  <a:pt x="334954" y="92346"/>
                  <a:pt x="333498" y="92883"/>
                  <a:pt x="331862" y="92883"/>
                </a:cubicBezTo>
                <a:lnTo>
                  <a:pt x="273974" y="92883"/>
                </a:lnTo>
                <a:cubicBezTo>
                  <a:pt x="273974" y="97766"/>
                  <a:pt x="274464" y="102161"/>
                  <a:pt x="275445" y="106068"/>
                </a:cubicBezTo>
                <a:cubicBezTo>
                  <a:pt x="276427" y="109975"/>
                  <a:pt x="278062" y="113328"/>
                  <a:pt x="280353" y="116128"/>
                </a:cubicBezTo>
                <a:cubicBezTo>
                  <a:pt x="282643" y="118928"/>
                  <a:pt x="285620" y="121076"/>
                  <a:pt x="289284" y="122574"/>
                </a:cubicBezTo>
                <a:cubicBezTo>
                  <a:pt x="292948" y="124072"/>
                  <a:pt x="297430" y="124820"/>
                  <a:pt x="302729" y="124820"/>
                </a:cubicBezTo>
                <a:cubicBezTo>
                  <a:pt x="306917" y="124820"/>
                  <a:pt x="310646" y="124479"/>
                  <a:pt x="313918" y="123795"/>
                </a:cubicBezTo>
                <a:cubicBezTo>
                  <a:pt x="317189" y="123111"/>
                  <a:pt x="320019" y="122346"/>
                  <a:pt x="322407" y="121500"/>
                </a:cubicBezTo>
                <a:cubicBezTo>
                  <a:pt x="324795" y="120653"/>
                  <a:pt x="326759" y="119888"/>
                  <a:pt x="328296" y="119204"/>
                </a:cubicBezTo>
                <a:cubicBezTo>
                  <a:pt x="329834" y="118521"/>
                  <a:pt x="330996" y="118179"/>
                  <a:pt x="331781" y="118179"/>
                </a:cubicBezTo>
                <a:cubicBezTo>
                  <a:pt x="332239" y="118179"/>
                  <a:pt x="332648" y="118293"/>
                  <a:pt x="333007" y="118521"/>
                </a:cubicBezTo>
                <a:cubicBezTo>
                  <a:pt x="333367" y="118749"/>
                  <a:pt x="333645" y="119090"/>
                  <a:pt x="333841" y="119546"/>
                </a:cubicBezTo>
                <a:cubicBezTo>
                  <a:pt x="334038" y="120002"/>
                  <a:pt x="334185" y="120637"/>
                  <a:pt x="334283" y="121451"/>
                </a:cubicBezTo>
                <a:cubicBezTo>
                  <a:pt x="334381" y="122265"/>
                  <a:pt x="334430" y="123258"/>
                  <a:pt x="334430" y="124430"/>
                </a:cubicBezTo>
                <a:cubicBezTo>
                  <a:pt x="334430" y="125276"/>
                  <a:pt x="334398" y="126009"/>
                  <a:pt x="334333" y="126627"/>
                </a:cubicBezTo>
                <a:cubicBezTo>
                  <a:pt x="334268" y="127246"/>
                  <a:pt x="334186" y="127799"/>
                  <a:pt x="334089" y="128288"/>
                </a:cubicBezTo>
                <a:cubicBezTo>
                  <a:pt x="333991" y="128776"/>
                  <a:pt x="333828" y="129215"/>
                  <a:pt x="333600" y="129606"/>
                </a:cubicBezTo>
                <a:cubicBezTo>
                  <a:pt x="333372" y="129997"/>
                  <a:pt x="333079" y="130371"/>
                  <a:pt x="332721" y="130729"/>
                </a:cubicBezTo>
                <a:cubicBezTo>
                  <a:pt x="332363" y="131087"/>
                  <a:pt x="331305" y="131673"/>
                  <a:pt x="329547" y="132487"/>
                </a:cubicBezTo>
                <a:cubicBezTo>
                  <a:pt x="327789" y="133301"/>
                  <a:pt x="325510" y="134099"/>
                  <a:pt x="322710" y="134880"/>
                </a:cubicBezTo>
                <a:cubicBezTo>
                  <a:pt x="319910" y="135662"/>
                  <a:pt x="316671" y="136362"/>
                  <a:pt x="312992" y="136980"/>
                </a:cubicBezTo>
                <a:cubicBezTo>
                  <a:pt x="309313" y="137599"/>
                  <a:pt x="305390" y="137908"/>
                  <a:pt x="301223" y="137908"/>
                </a:cubicBezTo>
                <a:cubicBezTo>
                  <a:pt x="293996" y="137908"/>
                  <a:pt x="287663" y="136899"/>
                  <a:pt x="282227" y="134880"/>
                </a:cubicBezTo>
                <a:cubicBezTo>
                  <a:pt x="276790" y="132862"/>
                  <a:pt x="272216" y="129867"/>
                  <a:pt x="268504" y="125895"/>
                </a:cubicBezTo>
                <a:cubicBezTo>
                  <a:pt x="264793" y="121923"/>
                  <a:pt x="261993" y="116942"/>
                  <a:pt x="260105" y="110951"/>
                </a:cubicBezTo>
                <a:cubicBezTo>
                  <a:pt x="258216" y="104961"/>
                  <a:pt x="257272" y="97994"/>
                  <a:pt x="257272" y="90050"/>
                </a:cubicBezTo>
                <a:cubicBezTo>
                  <a:pt x="257272" y="82497"/>
                  <a:pt x="258249" y="75709"/>
                  <a:pt x="260202" y="69687"/>
                </a:cubicBezTo>
                <a:cubicBezTo>
                  <a:pt x="262156" y="63664"/>
                  <a:pt x="264972" y="58552"/>
                  <a:pt x="268651" y="54353"/>
                </a:cubicBezTo>
                <a:cubicBezTo>
                  <a:pt x="272330" y="50153"/>
                  <a:pt x="276773" y="46930"/>
                  <a:pt x="281982" y="44683"/>
                </a:cubicBezTo>
                <a:cubicBezTo>
                  <a:pt x="287191" y="42437"/>
                  <a:pt x="293019" y="41314"/>
                  <a:pt x="299465" y="41314"/>
                </a:cubicBezTo>
                <a:close/>
                <a:moveTo>
                  <a:pt x="128359" y="41314"/>
                </a:moveTo>
                <a:cubicBezTo>
                  <a:pt x="130703" y="41314"/>
                  <a:pt x="133047" y="41509"/>
                  <a:pt x="135391" y="41900"/>
                </a:cubicBezTo>
                <a:cubicBezTo>
                  <a:pt x="137735" y="42291"/>
                  <a:pt x="139852" y="42779"/>
                  <a:pt x="141740" y="43365"/>
                </a:cubicBezTo>
                <a:cubicBezTo>
                  <a:pt x="143628" y="43951"/>
                  <a:pt x="145240" y="44586"/>
                  <a:pt x="146574" y="45269"/>
                </a:cubicBezTo>
                <a:cubicBezTo>
                  <a:pt x="147909" y="45953"/>
                  <a:pt x="148918" y="46555"/>
                  <a:pt x="149602" y="47076"/>
                </a:cubicBezTo>
                <a:cubicBezTo>
                  <a:pt x="150286" y="47597"/>
                  <a:pt x="150742" y="48053"/>
                  <a:pt x="150969" y="48444"/>
                </a:cubicBezTo>
                <a:cubicBezTo>
                  <a:pt x="151197" y="48834"/>
                  <a:pt x="151360" y="49274"/>
                  <a:pt x="151458" y="49762"/>
                </a:cubicBezTo>
                <a:cubicBezTo>
                  <a:pt x="151555" y="50251"/>
                  <a:pt x="151653" y="50853"/>
                  <a:pt x="151751" y="51569"/>
                </a:cubicBezTo>
                <a:cubicBezTo>
                  <a:pt x="151848" y="52285"/>
                  <a:pt x="151897" y="53164"/>
                  <a:pt x="151897" y="54206"/>
                </a:cubicBezTo>
                <a:cubicBezTo>
                  <a:pt x="151897" y="55313"/>
                  <a:pt x="151848" y="56273"/>
                  <a:pt x="151751" y="57087"/>
                </a:cubicBezTo>
                <a:cubicBezTo>
                  <a:pt x="151653" y="57901"/>
                  <a:pt x="151490" y="58569"/>
                  <a:pt x="151262" y="59090"/>
                </a:cubicBezTo>
                <a:cubicBezTo>
                  <a:pt x="151035" y="59610"/>
                  <a:pt x="150758" y="59985"/>
                  <a:pt x="150432" y="60213"/>
                </a:cubicBezTo>
                <a:cubicBezTo>
                  <a:pt x="150107" y="60441"/>
                  <a:pt x="149749" y="60555"/>
                  <a:pt x="149358" y="60555"/>
                </a:cubicBezTo>
                <a:cubicBezTo>
                  <a:pt x="148772" y="60555"/>
                  <a:pt x="147925" y="60196"/>
                  <a:pt x="146819" y="59480"/>
                </a:cubicBezTo>
                <a:cubicBezTo>
                  <a:pt x="145712" y="58764"/>
                  <a:pt x="144279" y="57999"/>
                  <a:pt x="142521" y="57185"/>
                </a:cubicBezTo>
                <a:cubicBezTo>
                  <a:pt x="140763" y="56371"/>
                  <a:pt x="138696" y="55606"/>
                  <a:pt x="136319" y="54890"/>
                </a:cubicBezTo>
                <a:cubicBezTo>
                  <a:pt x="133943" y="54174"/>
                  <a:pt x="131224" y="53815"/>
                  <a:pt x="128164" y="53815"/>
                </a:cubicBezTo>
                <a:cubicBezTo>
                  <a:pt x="125429" y="53815"/>
                  <a:pt x="123020" y="54125"/>
                  <a:pt x="120936" y="54743"/>
                </a:cubicBezTo>
                <a:cubicBezTo>
                  <a:pt x="118853" y="55362"/>
                  <a:pt x="117144" y="56241"/>
                  <a:pt x="115809" y="57380"/>
                </a:cubicBezTo>
                <a:cubicBezTo>
                  <a:pt x="114474" y="58520"/>
                  <a:pt x="113465" y="59871"/>
                  <a:pt x="112781" y="61434"/>
                </a:cubicBezTo>
                <a:cubicBezTo>
                  <a:pt x="112097" y="62996"/>
                  <a:pt x="111756" y="64689"/>
                  <a:pt x="111756" y="66512"/>
                </a:cubicBezTo>
                <a:cubicBezTo>
                  <a:pt x="111756" y="69052"/>
                  <a:pt x="112407" y="71184"/>
                  <a:pt x="113709" y="72910"/>
                </a:cubicBezTo>
                <a:cubicBezTo>
                  <a:pt x="115011" y="74635"/>
                  <a:pt x="116704" y="76149"/>
                  <a:pt x="118788" y="77451"/>
                </a:cubicBezTo>
                <a:cubicBezTo>
                  <a:pt x="120871" y="78753"/>
                  <a:pt x="123248" y="79925"/>
                  <a:pt x="125918" y="80967"/>
                </a:cubicBezTo>
                <a:cubicBezTo>
                  <a:pt x="128587" y="82009"/>
                  <a:pt x="131306" y="83083"/>
                  <a:pt x="134073" y="84190"/>
                </a:cubicBezTo>
                <a:cubicBezTo>
                  <a:pt x="136840" y="85297"/>
                  <a:pt x="139575" y="86534"/>
                  <a:pt x="142277" y="87902"/>
                </a:cubicBezTo>
                <a:cubicBezTo>
                  <a:pt x="144979" y="89269"/>
                  <a:pt x="147372" y="90929"/>
                  <a:pt x="149456" y="92883"/>
                </a:cubicBezTo>
                <a:cubicBezTo>
                  <a:pt x="151539" y="94836"/>
                  <a:pt x="153216" y="97180"/>
                  <a:pt x="154486" y="99915"/>
                </a:cubicBezTo>
                <a:cubicBezTo>
                  <a:pt x="155755" y="102650"/>
                  <a:pt x="156390" y="105905"/>
                  <a:pt x="156390" y="109682"/>
                </a:cubicBezTo>
                <a:cubicBezTo>
                  <a:pt x="156390" y="114175"/>
                  <a:pt x="155560" y="118179"/>
                  <a:pt x="153900" y="121695"/>
                </a:cubicBezTo>
                <a:cubicBezTo>
                  <a:pt x="152239" y="125211"/>
                  <a:pt x="149879" y="128174"/>
                  <a:pt x="146819" y="130583"/>
                </a:cubicBezTo>
                <a:cubicBezTo>
                  <a:pt x="143758" y="132992"/>
                  <a:pt x="140112" y="134815"/>
                  <a:pt x="135880" y="136052"/>
                </a:cubicBezTo>
                <a:cubicBezTo>
                  <a:pt x="131647" y="137289"/>
                  <a:pt x="126992" y="137908"/>
                  <a:pt x="121913" y="137908"/>
                </a:cubicBezTo>
                <a:cubicBezTo>
                  <a:pt x="118788" y="137908"/>
                  <a:pt x="115809" y="137664"/>
                  <a:pt x="112976" y="137175"/>
                </a:cubicBezTo>
                <a:cubicBezTo>
                  <a:pt x="110144" y="136687"/>
                  <a:pt x="107605" y="136069"/>
                  <a:pt x="105358" y="135320"/>
                </a:cubicBezTo>
                <a:cubicBezTo>
                  <a:pt x="103112" y="134571"/>
                  <a:pt x="101207" y="133790"/>
                  <a:pt x="99645" y="132976"/>
                </a:cubicBezTo>
                <a:cubicBezTo>
                  <a:pt x="98082" y="132162"/>
                  <a:pt x="96943" y="131429"/>
                  <a:pt x="96226" y="130778"/>
                </a:cubicBezTo>
                <a:cubicBezTo>
                  <a:pt x="95510" y="130127"/>
                  <a:pt x="94989" y="129215"/>
                  <a:pt x="94664" y="128043"/>
                </a:cubicBezTo>
                <a:cubicBezTo>
                  <a:pt x="94338" y="126871"/>
                  <a:pt x="94175" y="125276"/>
                  <a:pt x="94175" y="123258"/>
                </a:cubicBezTo>
                <a:cubicBezTo>
                  <a:pt x="94175" y="122021"/>
                  <a:pt x="94240" y="120979"/>
                  <a:pt x="94371" y="120132"/>
                </a:cubicBezTo>
                <a:cubicBezTo>
                  <a:pt x="94501" y="119286"/>
                  <a:pt x="94664" y="118602"/>
                  <a:pt x="94859" y="118081"/>
                </a:cubicBezTo>
                <a:cubicBezTo>
                  <a:pt x="95054" y="117560"/>
                  <a:pt x="95331" y="117186"/>
                  <a:pt x="95689" y="116958"/>
                </a:cubicBezTo>
                <a:cubicBezTo>
                  <a:pt x="96047" y="116730"/>
                  <a:pt x="96454" y="116616"/>
                  <a:pt x="96910" y="116616"/>
                </a:cubicBezTo>
                <a:cubicBezTo>
                  <a:pt x="97626" y="116616"/>
                  <a:pt x="98684" y="117056"/>
                  <a:pt x="100084" y="117935"/>
                </a:cubicBezTo>
                <a:cubicBezTo>
                  <a:pt x="101484" y="118814"/>
                  <a:pt x="103210" y="119774"/>
                  <a:pt x="105261" y="120816"/>
                </a:cubicBezTo>
                <a:cubicBezTo>
                  <a:pt x="107312" y="121858"/>
                  <a:pt x="109737" y="122818"/>
                  <a:pt x="112537" y="123697"/>
                </a:cubicBezTo>
                <a:cubicBezTo>
                  <a:pt x="115337" y="124576"/>
                  <a:pt x="118560" y="125016"/>
                  <a:pt x="122206" y="125016"/>
                </a:cubicBezTo>
                <a:cubicBezTo>
                  <a:pt x="124941" y="125016"/>
                  <a:pt x="127415" y="124723"/>
                  <a:pt x="129629" y="124137"/>
                </a:cubicBezTo>
                <a:cubicBezTo>
                  <a:pt x="131843" y="123551"/>
                  <a:pt x="133764" y="122688"/>
                  <a:pt x="135391" y="121548"/>
                </a:cubicBezTo>
                <a:cubicBezTo>
                  <a:pt x="137019" y="120409"/>
                  <a:pt x="138273" y="118960"/>
                  <a:pt x="139152" y="117202"/>
                </a:cubicBezTo>
                <a:cubicBezTo>
                  <a:pt x="140031" y="115444"/>
                  <a:pt x="140470" y="113361"/>
                  <a:pt x="140470" y="110951"/>
                </a:cubicBezTo>
                <a:cubicBezTo>
                  <a:pt x="140470" y="108477"/>
                  <a:pt x="139835" y="106394"/>
                  <a:pt x="138566" y="104701"/>
                </a:cubicBezTo>
                <a:cubicBezTo>
                  <a:pt x="137296" y="103008"/>
                  <a:pt x="135619" y="101510"/>
                  <a:pt x="133536" y="100208"/>
                </a:cubicBezTo>
                <a:cubicBezTo>
                  <a:pt x="131452" y="98906"/>
                  <a:pt x="129108" y="97750"/>
                  <a:pt x="126504" y="96741"/>
                </a:cubicBezTo>
                <a:cubicBezTo>
                  <a:pt x="123899" y="95731"/>
                  <a:pt x="121213" y="94673"/>
                  <a:pt x="118446" y="93566"/>
                </a:cubicBezTo>
                <a:cubicBezTo>
                  <a:pt x="115679" y="92460"/>
                  <a:pt x="112976" y="91206"/>
                  <a:pt x="110339" y="89806"/>
                </a:cubicBezTo>
                <a:cubicBezTo>
                  <a:pt x="107702" y="88406"/>
                  <a:pt x="105342" y="86697"/>
                  <a:pt x="103258" y="84679"/>
                </a:cubicBezTo>
                <a:cubicBezTo>
                  <a:pt x="101175" y="82660"/>
                  <a:pt x="99498" y="80251"/>
                  <a:pt x="98228" y="77451"/>
                </a:cubicBezTo>
                <a:cubicBezTo>
                  <a:pt x="96959" y="74651"/>
                  <a:pt x="96324" y="71298"/>
                  <a:pt x="96324" y="67391"/>
                </a:cubicBezTo>
                <a:cubicBezTo>
                  <a:pt x="96324" y="63940"/>
                  <a:pt x="96991" y="60636"/>
                  <a:pt x="98326" y="57478"/>
                </a:cubicBezTo>
                <a:cubicBezTo>
                  <a:pt x="99661" y="54320"/>
                  <a:pt x="101663" y="51553"/>
                  <a:pt x="104333" y="49176"/>
                </a:cubicBezTo>
                <a:cubicBezTo>
                  <a:pt x="107002" y="46800"/>
                  <a:pt x="110339" y="44895"/>
                  <a:pt x="114344" y="43463"/>
                </a:cubicBezTo>
                <a:cubicBezTo>
                  <a:pt x="118348" y="42030"/>
                  <a:pt x="123020" y="41314"/>
                  <a:pt x="128359" y="41314"/>
                </a:cubicBezTo>
                <a:close/>
                <a:moveTo>
                  <a:pt x="37504" y="41314"/>
                </a:moveTo>
                <a:cubicBezTo>
                  <a:pt x="43820" y="41314"/>
                  <a:pt x="49192" y="42030"/>
                  <a:pt x="53620" y="43463"/>
                </a:cubicBezTo>
                <a:cubicBezTo>
                  <a:pt x="58047" y="44895"/>
                  <a:pt x="61628" y="46995"/>
                  <a:pt x="64363" y="49762"/>
                </a:cubicBezTo>
                <a:cubicBezTo>
                  <a:pt x="67098" y="52529"/>
                  <a:pt x="69084" y="55964"/>
                  <a:pt x="70321" y="60066"/>
                </a:cubicBezTo>
                <a:cubicBezTo>
                  <a:pt x="71558" y="64168"/>
                  <a:pt x="72177" y="68954"/>
                  <a:pt x="72177" y="74423"/>
                </a:cubicBezTo>
                <a:lnTo>
                  <a:pt x="72177" y="133708"/>
                </a:lnTo>
                <a:cubicBezTo>
                  <a:pt x="72177" y="134490"/>
                  <a:pt x="71916" y="135076"/>
                  <a:pt x="71395" y="135466"/>
                </a:cubicBezTo>
                <a:cubicBezTo>
                  <a:pt x="70874" y="135857"/>
                  <a:pt x="70158" y="136150"/>
                  <a:pt x="69247" y="136345"/>
                </a:cubicBezTo>
                <a:cubicBezTo>
                  <a:pt x="68335" y="136541"/>
                  <a:pt x="67000" y="136638"/>
                  <a:pt x="65242" y="136638"/>
                </a:cubicBezTo>
                <a:cubicBezTo>
                  <a:pt x="63549" y="136638"/>
                  <a:pt x="62198" y="136541"/>
                  <a:pt x="61189" y="136345"/>
                </a:cubicBezTo>
                <a:cubicBezTo>
                  <a:pt x="60180" y="136150"/>
                  <a:pt x="59447" y="135857"/>
                  <a:pt x="58991" y="135466"/>
                </a:cubicBezTo>
                <a:cubicBezTo>
                  <a:pt x="58536" y="135076"/>
                  <a:pt x="58308" y="134490"/>
                  <a:pt x="58308" y="133708"/>
                </a:cubicBezTo>
                <a:lnTo>
                  <a:pt x="58308" y="124918"/>
                </a:lnTo>
                <a:cubicBezTo>
                  <a:pt x="54466" y="129020"/>
                  <a:pt x="50185" y="132211"/>
                  <a:pt x="45464" y="134490"/>
                </a:cubicBezTo>
                <a:cubicBezTo>
                  <a:pt x="40744" y="136768"/>
                  <a:pt x="35746" y="137908"/>
                  <a:pt x="30472" y="137908"/>
                </a:cubicBezTo>
                <a:cubicBezTo>
                  <a:pt x="25849" y="137908"/>
                  <a:pt x="21666" y="137306"/>
                  <a:pt x="17922" y="136101"/>
                </a:cubicBezTo>
                <a:cubicBezTo>
                  <a:pt x="14178" y="134896"/>
                  <a:pt x="10987" y="133155"/>
                  <a:pt x="8350" y="130876"/>
                </a:cubicBezTo>
                <a:cubicBezTo>
                  <a:pt x="5713" y="128597"/>
                  <a:pt x="3662" y="125797"/>
                  <a:pt x="2197" y="122476"/>
                </a:cubicBezTo>
                <a:cubicBezTo>
                  <a:pt x="732" y="119156"/>
                  <a:pt x="0" y="115379"/>
                  <a:pt x="0" y="111147"/>
                </a:cubicBezTo>
                <a:cubicBezTo>
                  <a:pt x="0" y="106198"/>
                  <a:pt x="1009" y="101901"/>
                  <a:pt x="3027" y="98255"/>
                </a:cubicBezTo>
                <a:cubicBezTo>
                  <a:pt x="5046" y="94608"/>
                  <a:pt x="7943" y="91581"/>
                  <a:pt x="11720" y="89171"/>
                </a:cubicBezTo>
                <a:cubicBezTo>
                  <a:pt x="15496" y="86762"/>
                  <a:pt x="20119" y="84955"/>
                  <a:pt x="25589" y="83751"/>
                </a:cubicBezTo>
                <a:cubicBezTo>
                  <a:pt x="31058" y="82546"/>
                  <a:pt x="37211" y="81944"/>
                  <a:pt x="44048" y="81944"/>
                </a:cubicBezTo>
                <a:lnTo>
                  <a:pt x="56159" y="81944"/>
                </a:lnTo>
                <a:lnTo>
                  <a:pt x="56159" y="75107"/>
                </a:lnTo>
                <a:cubicBezTo>
                  <a:pt x="56159" y="71721"/>
                  <a:pt x="55801" y="68726"/>
                  <a:pt x="55085" y="66122"/>
                </a:cubicBezTo>
                <a:cubicBezTo>
                  <a:pt x="54368" y="63517"/>
                  <a:pt x="53213" y="61352"/>
                  <a:pt x="51617" y="59627"/>
                </a:cubicBezTo>
                <a:cubicBezTo>
                  <a:pt x="50022" y="57901"/>
                  <a:pt x="47955" y="56599"/>
                  <a:pt x="45415" y="55720"/>
                </a:cubicBezTo>
                <a:cubicBezTo>
                  <a:pt x="42876" y="54841"/>
                  <a:pt x="39751" y="54401"/>
                  <a:pt x="36039" y="54401"/>
                </a:cubicBezTo>
                <a:cubicBezTo>
                  <a:pt x="32067" y="54401"/>
                  <a:pt x="28503" y="54873"/>
                  <a:pt x="25345" y="55818"/>
                </a:cubicBezTo>
                <a:cubicBezTo>
                  <a:pt x="22187" y="56762"/>
                  <a:pt x="19419" y="57804"/>
                  <a:pt x="17043" y="58943"/>
                </a:cubicBezTo>
                <a:cubicBezTo>
                  <a:pt x="14666" y="60082"/>
                  <a:pt x="12680" y="61124"/>
                  <a:pt x="11085" y="62068"/>
                </a:cubicBezTo>
                <a:cubicBezTo>
                  <a:pt x="9490" y="63013"/>
                  <a:pt x="8301" y="63485"/>
                  <a:pt x="7520" y="63485"/>
                </a:cubicBezTo>
                <a:cubicBezTo>
                  <a:pt x="6999" y="63485"/>
                  <a:pt x="6543" y="63354"/>
                  <a:pt x="6153" y="63094"/>
                </a:cubicBezTo>
                <a:cubicBezTo>
                  <a:pt x="5762" y="62833"/>
                  <a:pt x="5420" y="62443"/>
                  <a:pt x="5127" y="61922"/>
                </a:cubicBezTo>
                <a:cubicBezTo>
                  <a:pt x="4834" y="61401"/>
                  <a:pt x="4623" y="60734"/>
                  <a:pt x="4492" y="59920"/>
                </a:cubicBezTo>
                <a:cubicBezTo>
                  <a:pt x="4362" y="59106"/>
                  <a:pt x="4297" y="58210"/>
                  <a:pt x="4297" y="57234"/>
                </a:cubicBezTo>
                <a:cubicBezTo>
                  <a:pt x="4297" y="55606"/>
                  <a:pt x="4411" y="54320"/>
                  <a:pt x="4639" y="53376"/>
                </a:cubicBezTo>
                <a:cubicBezTo>
                  <a:pt x="4867" y="52432"/>
                  <a:pt x="5420" y="51536"/>
                  <a:pt x="6299" y="50690"/>
                </a:cubicBezTo>
                <a:cubicBezTo>
                  <a:pt x="7178" y="49844"/>
                  <a:pt x="8692" y="48851"/>
                  <a:pt x="10841" y="47711"/>
                </a:cubicBezTo>
                <a:cubicBezTo>
                  <a:pt x="12990" y="46572"/>
                  <a:pt x="15464" y="45530"/>
                  <a:pt x="18264" y="44586"/>
                </a:cubicBezTo>
                <a:cubicBezTo>
                  <a:pt x="21063" y="43642"/>
                  <a:pt x="24124" y="42860"/>
                  <a:pt x="27444" y="42242"/>
                </a:cubicBezTo>
                <a:cubicBezTo>
                  <a:pt x="30765" y="41623"/>
                  <a:pt x="34118" y="41314"/>
                  <a:pt x="37504" y="41314"/>
                </a:cubicBezTo>
                <a:close/>
                <a:moveTo>
                  <a:pt x="576039" y="6446"/>
                </a:moveTo>
                <a:cubicBezTo>
                  <a:pt x="579815" y="6446"/>
                  <a:pt x="582404" y="7114"/>
                  <a:pt x="583804" y="8448"/>
                </a:cubicBezTo>
                <a:cubicBezTo>
                  <a:pt x="585204" y="9783"/>
                  <a:pt x="585903" y="12306"/>
                  <a:pt x="585903" y="16018"/>
                </a:cubicBezTo>
                <a:cubicBezTo>
                  <a:pt x="585903" y="19794"/>
                  <a:pt x="585187" y="22366"/>
                  <a:pt x="583755" y="23734"/>
                </a:cubicBezTo>
                <a:cubicBezTo>
                  <a:pt x="582322" y="25101"/>
                  <a:pt x="579685" y="25785"/>
                  <a:pt x="575844" y="25785"/>
                </a:cubicBezTo>
                <a:cubicBezTo>
                  <a:pt x="572067" y="25785"/>
                  <a:pt x="569479" y="25117"/>
                  <a:pt x="568079" y="23782"/>
                </a:cubicBezTo>
                <a:cubicBezTo>
                  <a:pt x="566679" y="22448"/>
                  <a:pt x="565979" y="19924"/>
                  <a:pt x="565979" y="16213"/>
                </a:cubicBezTo>
                <a:cubicBezTo>
                  <a:pt x="565979" y="12437"/>
                  <a:pt x="566695" y="9865"/>
                  <a:pt x="568128" y="8497"/>
                </a:cubicBezTo>
                <a:cubicBezTo>
                  <a:pt x="569560" y="7130"/>
                  <a:pt x="572197" y="6446"/>
                  <a:pt x="576039" y="6446"/>
                </a:cubicBezTo>
                <a:close/>
                <a:moveTo>
                  <a:pt x="530256" y="391"/>
                </a:moveTo>
                <a:cubicBezTo>
                  <a:pt x="531883" y="391"/>
                  <a:pt x="533218" y="472"/>
                  <a:pt x="534260" y="635"/>
                </a:cubicBezTo>
                <a:cubicBezTo>
                  <a:pt x="535302" y="798"/>
                  <a:pt x="536116" y="993"/>
                  <a:pt x="536702" y="1221"/>
                </a:cubicBezTo>
                <a:cubicBezTo>
                  <a:pt x="537288" y="1449"/>
                  <a:pt x="537727" y="1774"/>
                  <a:pt x="538020" y="2198"/>
                </a:cubicBezTo>
                <a:cubicBezTo>
                  <a:pt x="538313" y="2621"/>
                  <a:pt x="538460" y="3060"/>
                  <a:pt x="538460" y="3516"/>
                </a:cubicBezTo>
                <a:lnTo>
                  <a:pt x="538460" y="133611"/>
                </a:lnTo>
                <a:cubicBezTo>
                  <a:pt x="538460" y="134131"/>
                  <a:pt x="538346" y="134587"/>
                  <a:pt x="538118" y="134978"/>
                </a:cubicBezTo>
                <a:cubicBezTo>
                  <a:pt x="537890" y="135369"/>
                  <a:pt x="537499" y="135678"/>
                  <a:pt x="536946" y="135906"/>
                </a:cubicBezTo>
                <a:cubicBezTo>
                  <a:pt x="536392" y="136134"/>
                  <a:pt x="535660" y="136313"/>
                  <a:pt x="534748" y="136443"/>
                </a:cubicBezTo>
                <a:cubicBezTo>
                  <a:pt x="533837" y="136573"/>
                  <a:pt x="532730" y="136638"/>
                  <a:pt x="531428" y="136638"/>
                </a:cubicBezTo>
                <a:cubicBezTo>
                  <a:pt x="530060" y="136638"/>
                  <a:pt x="528921" y="136573"/>
                  <a:pt x="528009" y="136443"/>
                </a:cubicBezTo>
                <a:cubicBezTo>
                  <a:pt x="527098" y="136313"/>
                  <a:pt x="526349" y="136134"/>
                  <a:pt x="525763" y="135906"/>
                </a:cubicBezTo>
                <a:cubicBezTo>
                  <a:pt x="525177" y="135678"/>
                  <a:pt x="524754" y="135369"/>
                  <a:pt x="524493" y="134978"/>
                </a:cubicBezTo>
                <a:cubicBezTo>
                  <a:pt x="524233" y="134587"/>
                  <a:pt x="524103" y="134131"/>
                  <a:pt x="524103" y="133611"/>
                </a:cubicBezTo>
                <a:lnTo>
                  <a:pt x="524103" y="121988"/>
                </a:lnTo>
                <a:cubicBezTo>
                  <a:pt x="519480" y="127002"/>
                  <a:pt x="514678" y="130908"/>
                  <a:pt x="509696" y="133708"/>
                </a:cubicBezTo>
                <a:cubicBezTo>
                  <a:pt x="504715" y="136508"/>
                  <a:pt x="499262" y="137908"/>
                  <a:pt x="493337" y="137908"/>
                </a:cubicBezTo>
                <a:cubicBezTo>
                  <a:pt x="486891" y="137908"/>
                  <a:pt x="481389" y="136655"/>
                  <a:pt x="476831" y="134148"/>
                </a:cubicBezTo>
                <a:cubicBezTo>
                  <a:pt x="472273" y="131641"/>
                  <a:pt x="468578" y="128255"/>
                  <a:pt x="465746" y="123990"/>
                </a:cubicBezTo>
                <a:cubicBezTo>
                  <a:pt x="462913" y="119725"/>
                  <a:pt x="460846" y="114712"/>
                  <a:pt x="459544" y="108949"/>
                </a:cubicBezTo>
                <a:cubicBezTo>
                  <a:pt x="458241" y="103187"/>
                  <a:pt x="457590" y="97115"/>
                  <a:pt x="457590" y="90734"/>
                </a:cubicBezTo>
                <a:cubicBezTo>
                  <a:pt x="457590" y="83181"/>
                  <a:pt x="458404" y="76361"/>
                  <a:pt x="460032" y="70273"/>
                </a:cubicBezTo>
                <a:cubicBezTo>
                  <a:pt x="461660" y="64185"/>
                  <a:pt x="464069" y="58992"/>
                  <a:pt x="467260" y="54694"/>
                </a:cubicBezTo>
                <a:cubicBezTo>
                  <a:pt x="470450" y="50397"/>
                  <a:pt x="474406" y="47093"/>
                  <a:pt x="479126" y="44781"/>
                </a:cubicBezTo>
                <a:cubicBezTo>
                  <a:pt x="483847" y="42470"/>
                  <a:pt x="489300" y="41314"/>
                  <a:pt x="495486" y="41314"/>
                </a:cubicBezTo>
                <a:cubicBezTo>
                  <a:pt x="500630" y="41314"/>
                  <a:pt x="505334" y="42437"/>
                  <a:pt x="509599" y="44683"/>
                </a:cubicBezTo>
                <a:cubicBezTo>
                  <a:pt x="513864" y="46930"/>
                  <a:pt x="518080" y="50234"/>
                  <a:pt x="522247" y="54597"/>
                </a:cubicBezTo>
                <a:lnTo>
                  <a:pt x="522247" y="3516"/>
                </a:lnTo>
                <a:cubicBezTo>
                  <a:pt x="522247" y="3060"/>
                  <a:pt x="522361" y="2621"/>
                  <a:pt x="522589" y="2198"/>
                </a:cubicBezTo>
                <a:cubicBezTo>
                  <a:pt x="522817" y="1774"/>
                  <a:pt x="523256" y="1449"/>
                  <a:pt x="523907" y="1221"/>
                </a:cubicBezTo>
                <a:cubicBezTo>
                  <a:pt x="524558" y="993"/>
                  <a:pt x="525388" y="798"/>
                  <a:pt x="526398" y="635"/>
                </a:cubicBezTo>
                <a:cubicBezTo>
                  <a:pt x="527407" y="472"/>
                  <a:pt x="528693" y="391"/>
                  <a:pt x="530256" y="391"/>
                </a:cubicBezTo>
                <a:close/>
                <a:moveTo>
                  <a:pt x="804541" y="0"/>
                </a:moveTo>
                <a:cubicBezTo>
                  <a:pt x="806169" y="0"/>
                  <a:pt x="807504" y="65"/>
                  <a:pt x="808546" y="195"/>
                </a:cubicBezTo>
                <a:cubicBezTo>
                  <a:pt x="809587" y="326"/>
                  <a:pt x="810401" y="521"/>
                  <a:pt x="810987" y="781"/>
                </a:cubicBezTo>
                <a:cubicBezTo>
                  <a:pt x="811573" y="1042"/>
                  <a:pt x="811997" y="1367"/>
                  <a:pt x="812257" y="1758"/>
                </a:cubicBezTo>
                <a:cubicBezTo>
                  <a:pt x="812518" y="2149"/>
                  <a:pt x="812648" y="2605"/>
                  <a:pt x="812648" y="3125"/>
                </a:cubicBezTo>
                <a:lnTo>
                  <a:pt x="812648" y="55769"/>
                </a:lnTo>
                <a:cubicBezTo>
                  <a:pt x="817271" y="50885"/>
                  <a:pt x="821926" y="47255"/>
                  <a:pt x="826614" y="44879"/>
                </a:cubicBezTo>
                <a:cubicBezTo>
                  <a:pt x="831302" y="42502"/>
                  <a:pt x="836023" y="41314"/>
                  <a:pt x="840776" y="41314"/>
                </a:cubicBezTo>
                <a:cubicBezTo>
                  <a:pt x="846636" y="41314"/>
                  <a:pt x="851569" y="42307"/>
                  <a:pt x="855573" y="44293"/>
                </a:cubicBezTo>
                <a:cubicBezTo>
                  <a:pt x="859577" y="46279"/>
                  <a:pt x="862817" y="48932"/>
                  <a:pt x="865291" y="52253"/>
                </a:cubicBezTo>
                <a:cubicBezTo>
                  <a:pt x="867765" y="55573"/>
                  <a:pt x="869540" y="59464"/>
                  <a:pt x="870614" y="63924"/>
                </a:cubicBezTo>
                <a:cubicBezTo>
                  <a:pt x="871688" y="68384"/>
                  <a:pt x="872225" y="73772"/>
                  <a:pt x="872225" y="80088"/>
                </a:cubicBezTo>
                <a:lnTo>
                  <a:pt x="872225" y="133611"/>
                </a:lnTo>
                <a:cubicBezTo>
                  <a:pt x="872225" y="134131"/>
                  <a:pt x="872095" y="134571"/>
                  <a:pt x="871835" y="134929"/>
                </a:cubicBezTo>
                <a:cubicBezTo>
                  <a:pt x="871574" y="135287"/>
                  <a:pt x="871151" y="135596"/>
                  <a:pt x="870565" y="135857"/>
                </a:cubicBezTo>
                <a:cubicBezTo>
                  <a:pt x="869979" y="136117"/>
                  <a:pt x="869165" y="136313"/>
                  <a:pt x="868123" y="136443"/>
                </a:cubicBezTo>
                <a:cubicBezTo>
                  <a:pt x="867082" y="136573"/>
                  <a:pt x="865779" y="136638"/>
                  <a:pt x="864217" y="136638"/>
                </a:cubicBezTo>
                <a:cubicBezTo>
                  <a:pt x="862589" y="136638"/>
                  <a:pt x="861254" y="136573"/>
                  <a:pt x="860212" y="136443"/>
                </a:cubicBezTo>
                <a:cubicBezTo>
                  <a:pt x="859170" y="136313"/>
                  <a:pt x="858357" y="136117"/>
                  <a:pt x="857771" y="135857"/>
                </a:cubicBezTo>
                <a:cubicBezTo>
                  <a:pt x="857184" y="135596"/>
                  <a:pt x="856761" y="135287"/>
                  <a:pt x="856501" y="134929"/>
                </a:cubicBezTo>
                <a:cubicBezTo>
                  <a:pt x="856240" y="134571"/>
                  <a:pt x="856110" y="134131"/>
                  <a:pt x="856110" y="133611"/>
                </a:cubicBezTo>
                <a:lnTo>
                  <a:pt x="856110" y="82139"/>
                </a:lnTo>
                <a:cubicBezTo>
                  <a:pt x="856110" y="77126"/>
                  <a:pt x="855720" y="73089"/>
                  <a:pt x="854938" y="70028"/>
                </a:cubicBezTo>
                <a:cubicBezTo>
                  <a:pt x="854157" y="66968"/>
                  <a:pt x="853017" y="64331"/>
                  <a:pt x="851520" y="62117"/>
                </a:cubicBezTo>
                <a:cubicBezTo>
                  <a:pt x="850022" y="59903"/>
                  <a:pt x="848085" y="58210"/>
                  <a:pt x="845708" y="57038"/>
                </a:cubicBezTo>
                <a:cubicBezTo>
                  <a:pt x="843332" y="55866"/>
                  <a:pt x="840581" y="55280"/>
                  <a:pt x="837455" y="55280"/>
                </a:cubicBezTo>
                <a:cubicBezTo>
                  <a:pt x="833418" y="55280"/>
                  <a:pt x="829382" y="56713"/>
                  <a:pt x="825345" y="59578"/>
                </a:cubicBezTo>
                <a:cubicBezTo>
                  <a:pt x="821308" y="62443"/>
                  <a:pt x="817075" y="66643"/>
                  <a:pt x="812648" y="72177"/>
                </a:cubicBezTo>
                <a:lnTo>
                  <a:pt x="812648" y="133611"/>
                </a:lnTo>
                <a:cubicBezTo>
                  <a:pt x="812648" y="134131"/>
                  <a:pt x="812518" y="134571"/>
                  <a:pt x="812257" y="134929"/>
                </a:cubicBezTo>
                <a:cubicBezTo>
                  <a:pt x="811997" y="135287"/>
                  <a:pt x="811573" y="135596"/>
                  <a:pt x="810987" y="135857"/>
                </a:cubicBezTo>
                <a:cubicBezTo>
                  <a:pt x="810401" y="136117"/>
                  <a:pt x="809587" y="136313"/>
                  <a:pt x="808546" y="136443"/>
                </a:cubicBezTo>
                <a:cubicBezTo>
                  <a:pt x="807504" y="136573"/>
                  <a:pt x="806169" y="136638"/>
                  <a:pt x="804541" y="136638"/>
                </a:cubicBezTo>
                <a:cubicBezTo>
                  <a:pt x="802978" y="136638"/>
                  <a:pt x="801676" y="136573"/>
                  <a:pt x="800635" y="136443"/>
                </a:cubicBezTo>
                <a:cubicBezTo>
                  <a:pt x="799593" y="136313"/>
                  <a:pt x="798762" y="136117"/>
                  <a:pt x="798144" y="135857"/>
                </a:cubicBezTo>
                <a:cubicBezTo>
                  <a:pt x="797525" y="135596"/>
                  <a:pt x="797102" y="135287"/>
                  <a:pt x="796874" y="134929"/>
                </a:cubicBezTo>
                <a:cubicBezTo>
                  <a:pt x="796646" y="134571"/>
                  <a:pt x="796532" y="134131"/>
                  <a:pt x="796532" y="133611"/>
                </a:cubicBezTo>
                <a:lnTo>
                  <a:pt x="796532" y="3125"/>
                </a:lnTo>
                <a:cubicBezTo>
                  <a:pt x="796532" y="2605"/>
                  <a:pt x="796646" y="2149"/>
                  <a:pt x="796874" y="1758"/>
                </a:cubicBezTo>
                <a:cubicBezTo>
                  <a:pt x="797102" y="1367"/>
                  <a:pt x="797525" y="1042"/>
                  <a:pt x="798144" y="781"/>
                </a:cubicBezTo>
                <a:cubicBezTo>
                  <a:pt x="798762" y="521"/>
                  <a:pt x="799593" y="326"/>
                  <a:pt x="800635" y="195"/>
                </a:cubicBezTo>
                <a:cubicBezTo>
                  <a:pt x="801676" y="65"/>
                  <a:pt x="802978" y="0"/>
                  <a:pt x="80454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chemeClr val="accent1"/>
                </a:solidFill>
              </a14:hiddenLine>
            </a:ext>
          </a:extLst>
        </p:spPr>
        <p:txBody>
          <a:bodyPr vert="horz" lIns="72000" tIns="72000" rIns="72000" bIns="72000" rtlCol="0" anchor="t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endParaRPr lang="en-US" sz="14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3338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4639D90-19B4-6D90-A194-84482A0029DF}"/>
              </a:ext>
            </a:extLst>
          </p:cNvPr>
          <p:cNvSpPr/>
          <p:nvPr userDrawn="1"/>
        </p:nvSpPr>
        <p:spPr>
          <a:xfrm>
            <a:off x="378000" y="377825"/>
            <a:ext cx="11434588" cy="5214453"/>
          </a:xfrm>
          <a:prstGeom prst="roundRect">
            <a:avLst>
              <a:gd name="adj" fmla="val 1674"/>
            </a:avLst>
          </a:prstGeom>
          <a:solidFill>
            <a:schemeClr val="accent1"/>
          </a:solidFill>
          <a:ln>
            <a:noFill/>
          </a:ln>
        </p:spPr>
        <p:txBody>
          <a:bodyPr vert="horz" lIns="72000" tIns="72000" rIns="72000" bIns="72000" rtlCol="0" anchor="t">
            <a:no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E2BAFC-4D76-A36D-6544-B1989581BC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6000" y="755825"/>
            <a:ext cx="10678588" cy="1329595"/>
          </a:xfrm>
        </p:spPr>
        <p:txBody>
          <a:bodyPr vert="horz" wrap="square" anchor="t">
            <a:spAutoFit/>
          </a:bodyPr>
          <a:lstStyle>
            <a:lvl1pPr algn="l">
              <a:defRPr sz="4800">
                <a:solidFill>
                  <a:schemeClr val="bg2"/>
                </a:solidFill>
              </a:defRPr>
            </a:lvl1pPr>
          </a:lstStyle>
          <a:p>
            <a:r>
              <a:rPr lang="en-US"/>
              <a:t>Breaker slide heading</a:t>
            </a:r>
            <a:br>
              <a:rPr lang="en-US"/>
            </a:br>
            <a:r>
              <a:rPr lang="en-US"/>
              <a:t>– max 2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E110D4-63C9-A537-C067-7B5D1B5C66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0" y="2391420"/>
            <a:ext cx="10678588" cy="221599"/>
          </a:xfrm>
        </p:spPr>
        <p:txBody>
          <a:bodyPr>
            <a:spAutoFit/>
          </a:bodyPr>
          <a:lstStyle>
            <a:lvl1pPr marL="0" indent="0" algn="l"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32BEAA5-5CE4-732B-388B-63E6E46218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40988" y="6022975"/>
            <a:ext cx="1371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5588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ED83CB-BDC9-9E47-818B-4E29D844640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3DD73CF-9CD0-454E-BF0B-7C8FC7FF1B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295" y="6440259"/>
            <a:ext cx="8075936" cy="365125"/>
          </a:xfrm>
          <a:prstGeom prst="rect">
            <a:avLst/>
          </a:prstGeom>
        </p:spPr>
        <p:txBody>
          <a:bodyPr/>
          <a:lstStyle>
            <a:lvl1pPr>
              <a:defRPr sz="933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scendis Pharma Business Overview November 2023 |  Not for use in product promotion. </a:t>
            </a:r>
          </a:p>
        </p:txBody>
      </p:sp>
    </p:spTree>
    <p:extLst>
      <p:ext uri="{BB962C8B-B14F-4D97-AF65-F5344CB8AC3E}">
        <p14:creationId xmlns:p14="http://schemas.microsoft.com/office/powerpoint/2010/main" val="84376588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1122364"/>
            <a:ext cx="103632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6" indent="0" algn="ctr">
              <a:buNone/>
              <a:defRPr sz="1200"/>
            </a:lvl4pPr>
            <a:lvl5pPr marL="1371567" indent="0" algn="ctr">
              <a:buNone/>
              <a:defRPr sz="1200"/>
            </a:lvl5pPr>
            <a:lvl6pPr marL="1714459" indent="0" algn="ctr">
              <a:buNone/>
              <a:defRPr sz="1200"/>
            </a:lvl6pPr>
            <a:lvl7pPr marL="2057350" indent="0" algn="ctr">
              <a:buNone/>
              <a:defRPr sz="1200"/>
            </a:lvl7pPr>
            <a:lvl8pPr marL="2400242" indent="0" algn="ctr">
              <a:buNone/>
              <a:defRPr sz="1200"/>
            </a:lvl8pPr>
            <a:lvl9pPr marL="274313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83FEDA-FE0B-6344-AFDE-A384C7E53530}" type="datetimeFigureOut">
              <a:rPr lang="en-US" smtClean="0"/>
              <a:t>5/1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0B468-C830-EE41-A2C4-85ED5CEA61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44854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83FEDA-FE0B-6344-AFDE-A384C7E53530}" type="datetimeFigureOut">
              <a:rPr lang="en-US" smtClean="0"/>
              <a:t>5/1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0B468-C830-EE41-A2C4-85ED5CEA61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83684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2" y="1709740"/>
            <a:ext cx="10515599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2" y="4589465"/>
            <a:ext cx="10515599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82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82000"/>
                  </a:schemeClr>
                </a:solidFill>
              </a:defRPr>
            </a:lvl3pPr>
            <a:lvl4pPr marL="1028676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4pPr>
            <a:lvl5pPr marL="1371567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5pPr>
            <a:lvl6pPr marL="1714459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6pPr>
            <a:lvl7pPr marL="2057350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7pPr>
            <a:lvl8pPr marL="2400242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8pPr>
            <a:lvl9pPr marL="2743134" indent="0">
              <a:buNone/>
              <a:defRPr sz="12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83FEDA-FE0B-6344-AFDE-A384C7E53530}" type="datetimeFigureOut">
              <a:rPr lang="en-US" smtClean="0"/>
              <a:t>5/1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0B468-C830-EE41-A2C4-85ED5CEA61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98059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83FEDA-FE0B-6344-AFDE-A384C7E53530}" type="datetimeFigureOut">
              <a:rPr lang="en-US" smtClean="0"/>
              <a:t>5/1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0B468-C830-EE41-A2C4-85ED5CEA61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5134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365127"/>
            <a:ext cx="10515599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6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6" indent="0">
              <a:buNone/>
              <a:defRPr sz="1200" b="1"/>
            </a:lvl4pPr>
            <a:lvl5pPr marL="1371567" indent="0">
              <a:buNone/>
              <a:defRPr sz="1200" b="1"/>
            </a:lvl5pPr>
            <a:lvl6pPr marL="1714459" indent="0">
              <a:buNone/>
              <a:defRPr sz="1200" b="1"/>
            </a:lvl6pPr>
            <a:lvl7pPr marL="2057350" indent="0">
              <a:buNone/>
              <a:defRPr sz="1200" b="1"/>
            </a:lvl7pPr>
            <a:lvl8pPr marL="2400242" indent="0">
              <a:buNone/>
              <a:defRPr sz="1200" b="1"/>
            </a:lvl8pPr>
            <a:lvl9pPr marL="2743134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6"/>
            <a:ext cx="5157786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6" indent="0">
              <a:buNone/>
              <a:defRPr sz="1200" b="1"/>
            </a:lvl4pPr>
            <a:lvl5pPr marL="1371567" indent="0">
              <a:buNone/>
              <a:defRPr sz="1200" b="1"/>
            </a:lvl5pPr>
            <a:lvl6pPr marL="1714459" indent="0">
              <a:buNone/>
              <a:defRPr sz="1200" b="1"/>
            </a:lvl6pPr>
            <a:lvl7pPr marL="2057350" indent="0">
              <a:buNone/>
              <a:defRPr sz="1200" b="1"/>
            </a:lvl7pPr>
            <a:lvl8pPr marL="2400242" indent="0">
              <a:buNone/>
              <a:defRPr sz="1200" b="1"/>
            </a:lvl8pPr>
            <a:lvl9pPr marL="2743134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6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83FEDA-FE0B-6344-AFDE-A384C7E53530}" type="datetimeFigureOut">
              <a:rPr lang="en-US" smtClean="0"/>
              <a:t>5/15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0B468-C830-EE41-A2C4-85ED5CEA61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17067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83FEDA-FE0B-6344-AFDE-A384C7E53530}" type="datetimeFigureOut">
              <a:rPr lang="en-US" smtClean="0"/>
              <a:t>5/15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0B468-C830-EE41-A2C4-85ED5CEA61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91399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83FEDA-FE0B-6344-AFDE-A384C7E53530}" type="datetimeFigureOut">
              <a:rPr lang="en-US" smtClean="0"/>
              <a:t>5/15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0B468-C830-EE41-A2C4-85ED5CEA61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51047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7" y="457200"/>
            <a:ext cx="393223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7" y="2057400"/>
            <a:ext cx="393223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6" indent="0">
              <a:buNone/>
              <a:defRPr sz="750"/>
            </a:lvl4pPr>
            <a:lvl5pPr marL="1371567" indent="0">
              <a:buNone/>
              <a:defRPr sz="750"/>
            </a:lvl5pPr>
            <a:lvl6pPr marL="1714459" indent="0">
              <a:buNone/>
              <a:defRPr sz="750"/>
            </a:lvl6pPr>
            <a:lvl7pPr marL="2057350" indent="0">
              <a:buNone/>
              <a:defRPr sz="750"/>
            </a:lvl7pPr>
            <a:lvl8pPr marL="2400242" indent="0">
              <a:buNone/>
              <a:defRPr sz="750"/>
            </a:lvl8pPr>
            <a:lvl9pPr marL="2743134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83FEDA-FE0B-6344-AFDE-A384C7E53530}" type="datetimeFigureOut">
              <a:rPr lang="en-US" smtClean="0"/>
              <a:t>5/1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0B468-C830-EE41-A2C4-85ED5CEA61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133033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7" y="457200"/>
            <a:ext cx="393223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6" indent="0">
              <a:buNone/>
              <a:defRPr sz="1500"/>
            </a:lvl4pPr>
            <a:lvl5pPr marL="1371567" indent="0">
              <a:buNone/>
              <a:defRPr sz="1500"/>
            </a:lvl5pPr>
            <a:lvl6pPr marL="1714459" indent="0">
              <a:buNone/>
              <a:defRPr sz="1500"/>
            </a:lvl6pPr>
            <a:lvl7pPr marL="2057350" indent="0">
              <a:buNone/>
              <a:defRPr sz="1500"/>
            </a:lvl7pPr>
            <a:lvl8pPr marL="2400242" indent="0">
              <a:buNone/>
              <a:defRPr sz="1500"/>
            </a:lvl8pPr>
            <a:lvl9pPr marL="2743134" indent="0">
              <a:buNone/>
              <a:defRPr sz="15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7" y="2057400"/>
            <a:ext cx="393223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6" indent="0">
              <a:buNone/>
              <a:defRPr sz="750"/>
            </a:lvl4pPr>
            <a:lvl5pPr marL="1371567" indent="0">
              <a:buNone/>
              <a:defRPr sz="750"/>
            </a:lvl5pPr>
            <a:lvl6pPr marL="1714459" indent="0">
              <a:buNone/>
              <a:defRPr sz="750"/>
            </a:lvl6pPr>
            <a:lvl7pPr marL="2057350" indent="0">
              <a:buNone/>
              <a:defRPr sz="750"/>
            </a:lvl7pPr>
            <a:lvl8pPr marL="2400242" indent="0">
              <a:buNone/>
              <a:defRPr sz="750"/>
            </a:lvl8pPr>
            <a:lvl9pPr marL="2743134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83FEDA-FE0B-6344-AFDE-A384C7E53530}" type="datetimeFigureOut">
              <a:rPr lang="en-US" smtClean="0"/>
              <a:t>5/1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0B468-C830-EE41-A2C4-85ED5CEA61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1910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F3B3845-AC8F-AFBB-9F92-1C62C51335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251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3B3845-AC8F-AFBB-9F92-1C62C51335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C17FAF-0C0E-6320-E9B3-63B9D4107B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8000" y="1603375"/>
            <a:ext cx="11436000" cy="4419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8B2E2EF-ED5F-8B6A-1754-4DF0E61C8A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854A71C-EB92-C809-E7A8-65EFA939A9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9F2FEA1-8B14-43C6-04FF-AB215443B2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E791C1B-354D-9FE8-9638-09EE2E9F3C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Master title style – max 1 lin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38EA6D-DC90-EBAB-3AB9-2BFDF18706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68425994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83FEDA-FE0B-6344-AFDE-A384C7E53530}" type="datetimeFigureOut">
              <a:rPr lang="en-US" smtClean="0"/>
              <a:t>5/1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0B468-C830-EE41-A2C4-85ED5CEA61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43137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6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83FEDA-FE0B-6344-AFDE-A384C7E53530}" type="datetimeFigureOut">
              <a:rPr lang="en-US" smtClean="0"/>
              <a:t>5/1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00B468-C830-EE41-A2C4-85ED5CEA61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74704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2 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F3B3845-AC8F-AFBB-9F92-1C62C51335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1811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3B3845-AC8F-AFBB-9F92-1C62C51335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C17FAF-0C0E-6320-E9B3-63B9D4107B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8000" y="1603375"/>
            <a:ext cx="11436000" cy="4419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8B2E2EF-ED5F-8B6A-1754-4DF0E61C8A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854A71C-EB92-C809-E7A8-65EFA939A9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9F2FEA1-8B14-43C6-04FF-AB215443B2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FFF17FE-D786-F410-2BB0-3C44F71B63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6981"/>
            <a:ext cx="9748185" cy="997196"/>
          </a:xfrm>
        </p:spPr>
        <p:txBody>
          <a:bodyPr vert="horz"/>
          <a:lstStyle/>
          <a:p>
            <a:r>
              <a:rPr lang="en-US"/>
              <a:t>Click to edit Master title style </a:t>
            </a:r>
            <a:br>
              <a:rPr lang="en-US"/>
            </a:br>
            <a:r>
              <a:rPr lang="en-US"/>
              <a:t>– max 2 line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833D0982-814E-EBAB-4B97-AE8A416B3F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824514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6890686-6B4F-BECB-187E-7AC648A42B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8480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890686-6B4F-BECB-187E-7AC648A42B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CB26ED-843E-D2AE-A374-586D0E962E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E84D53F-FEC0-DBD1-0544-659903245A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2806721-E746-18D7-C8BA-09B564CE77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C1E90D6-970F-2085-0869-EBA8448E10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Master title style – max 1 line</a:t>
            </a:r>
            <a:endParaRPr lang="da-DK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C2E628C-C2FE-5E42-3525-22ED9D423F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26887543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2 li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6890686-6B4F-BECB-187E-7AC648A42B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6151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890686-6B4F-BECB-187E-7AC648A42B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CB26ED-843E-D2AE-A374-586D0E962E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E84D53F-FEC0-DBD1-0544-659903245A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2806721-E746-18D7-C8BA-09B564CE77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8AF82C1-803A-71E4-ED2A-533957B854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6981"/>
            <a:ext cx="9748185" cy="997196"/>
          </a:xfrm>
        </p:spPr>
        <p:txBody>
          <a:bodyPr vert="horz"/>
          <a:lstStyle/>
          <a:p>
            <a:r>
              <a:rPr lang="en-US"/>
              <a:t>Click to edit Master title style </a:t>
            </a:r>
            <a:br>
              <a:rPr lang="en-US"/>
            </a:br>
            <a:r>
              <a:rPr lang="en-US"/>
              <a:t>– max 2 lines</a:t>
            </a:r>
            <a:endParaRPr lang="da-DK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AB95DF09-3266-33C0-AB43-BD612BF371F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8001" y="6217338"/>
            <a:ext cx="11436000" cy="110800"/>
          </a:xfrm>
        </p:spPr>
        <p:txBody>
          <a:bodyPr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/>
            </a:lvl1pPr>
            <a:lvl2pPr marL="177800" indent="0">
              <a:buNone/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3221127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tags" Target="../tags/tag22.xml"/><Relationship Id="rId30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4C2BC00-E460-15D5-3D1C-2163F81B5C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980500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84" imgH="486" progId="TCLayout.ActiveDocument.1">
                  <p:embed/>
                </p:oleObj>
              </mc:Choice>
              <mc:Fallback>
                <p:oleObj name="think-cell Slide" r:id="rId28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C2BC00-E460-15D5-3D1C-2163F81B5C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3E2F12F-86BB-5982-0A48-2379ABF5C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376981"/>
            <a:ext cx="9748185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0F23DB-3FBD-343C-39BF-D36668E5BB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7849" y="1603375"/>
            <a:ext cx="11436151" cy="44191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1CD961-B06F-DCCD-4BBA-1B1343B740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354832" y="6527398"/>
            <a:ext cx="559449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CE736D-4E9C-5699-7C27-31DFFD7CC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678569" y="6527398"/>
            <a:ext cx="11134018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C63773-9819-C11B-FCDA-874739360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8000" y="6527398"/>
            <a:ext cx="19717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A22007C-9F2E-ED8B-D521-3E81B9FE0DBE}"/>
              </a:ext>
            </a:extLst>
          </p:cNvPr>
          <p:cNvCxnSpPr>
            <a:cxnSpLocks/>
          </p:cNvCxnSpPr>
          <p:nvPr userDrawn="1"/>
        </p:nvCxnSpPr>
        <p:spPr>
          <a:xfrm>
            <a:off x="609013" y="6535092"/>
            <a:ext cx="0" cy="107722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phic 8">
            <a:extLst>
              <a:ext uri="{FF2B5EF4-FFF2-40B4-BE49-F238E27FC236}">
                <a16:creationId xmlns:a16="http://schemas.microsoft.com/office/drawing/2014/main" id="{021AE543-F28C-8590-FE0C-D9F184378246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0349641" y="-160986"/>
            <a:ext cx="1647854" cy="1076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206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  <p:sldLayoutId id="2147483733" r:id="rId17"/>
    <p:sldLayoutId id="2147483734" r:id="rId18"/>
    <p:sldLayoutId id="2147483735" r:id="rId19"/>
    <p:sldLayoutId id="2147483736" r:id="rId20"/>
    <p:sldLayoutId id="2147483737" r:id="rId21"/>
    <p:sldLayoutId id="2147483738" r:id="rId22"/>
    <p:sldLayoutId id="2147483739" r:id="rId23"/>
    <p:sldLayoutId id="2147483740" r:id="rId24"/>
    <p:sldLayoutId id="2147483741" r:id="rId2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4013" indent="-176213" algn="l" defTabSz="914400" rtl="0" eaLnBrk="1" latinLnBrk="0" hangingPunct="1">
        <a:lnSpc>
          <a:spcPct val="100000"/>
        </a:lnSpc>
        <a:spcBef>
          <a:spcPts val="600"/>
        </a:spcBef>
        <a:buSzPct val="100000"/>
        <a:buFont typeface="Univers Condensed" panose="020B0506020202050204" pitchFamily="34" charset="0"/>
        <a:buChar char="◦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7325" algn="l" defTabSz="914400" rtl="0" eaLnBrk="1" latinLnBrk="0" hangingPunct="1">
        <a:lnSpc>
          <a:spcPct val="100000"/>
        </a:lnSpc>
        <a:spcBef>
          <a:spcPts val="600"/>
        </a:spcBef>
        <a:buFont typeface="Univers Condensed" panose="020B0506020202050204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77800" algn="l" defTabSz="914400" rtl="0" eaLnBrk="1" latinLnBrk="0" hangingPunct="1">
        <a:lnSpc>
          <a:spcPct val="100000"/>
        </a:lnSpc>
        <a:spcBef>
          <a:spcPts val="600"/>
        </a:spcBef>
        <a:buFont typeface="Univers Condensed" panose="020B0506020202050204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5350" indent="-176213" algn="l" defTabSz="914400" rtl="0" eaLnBrk="1" latinLnBrk="0" hangingPunct="1">
        <a:lnSpc>
          <a:spcPct val="100000"/>
        </a:lnSpc>
        <a:spcBef>
          <a:spcPts val="600"/>
        </a:spcBef>
        <a:buFont typeface="Univers Condensed" panose="020B0506020202050204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38">
          <p15:clr>
            <a:srgbClr val="F26B43"/>
          </p15:clr>
        </p15:guide>
        <p15:guide id="6" pos="238">
          <p15:clr>
            <a:srgbClr val="F26B43"/>
          </p15:clr>
        </p15:guide>
        <p15:guide id="7" orient="horz" pos="868">
          <p15:clr>
            <a:srgbClr val="F26B43"/>
          </p15:clr>
        </p15:guide>
        <p15:guide id="8" orient="horz" pos="1010">
          <p15:clr>
            <a:srgbClr val="F26B43"/>
          </p15:clr>
        </p15:guide>
        <p15:guide id="9" orient="horz" pos="3794">
          <p15:clr>
            <a:srgbClr val="F26B43"/>
          </p15:clr>
        </p15:guide>
        <p15:guide id="10" pos="744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4C2BC00-E460-15D5-3D1C-2163F81B5C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980500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84" imgH="486" progId="TCLayout.ActiveDocument.1">
                  <p:embed/>
                </p:oleObj>
              </mc:Choice>
              <mc:Fallback>
                <p:oleObj name="think-cell Slide" r:id="rId28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C2BC00-E460-15D5-3D1C-2163F81B5C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3E2F12F-86BB-5982-0A48-2379ABF5C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000" y="376981"/>
            <a:ext cx="9748185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0F23DB-3FBD-343C-39BF-D36668E5BB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7849" y="1603375"/>
            <a:ext cx="11436151" cy="44191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1CD961-B06F-DCCD-4BBA-1B1343B740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354832" y="6527398"/>
            <a:ext cx="559449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CE736D-4E9C-5699-7C27-31DFFD7CCF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flipH="1">
            <a:off x="678569" y="6527398"/>
            <a:ext cx="11134018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C63773-9819-C11B-FCDA-874739360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78000" y="6527398"/>
            <a:ext cx="19717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 b="0">
                <a:solidFill>
                  <a:schemeClr val="tx2"/>
                </a:solidFill>
              </a:defRPr>
            </a:lvl1pPr>
          </a:lstStyle>
          <a:p>
            <a:fld id="{5EA29875-719B-4A39-A51C-7BDD87443D6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A22007C-9F2E-ED8B-D521-3E81B9FE0DBE}"/>
              </a:ext>
            </a:extLst>
          </p:cNvPr>
          <p:cNvCxnSpPr>
            <a:cxnSpLocks/>
          </p:cNvCxnSpPr>
          <p:nvPr userDrawn="1"/>
        </p:nvCxnSpPr>
        <p:spPr>
          <a:xfrm>
            <a:off x="609013" y="6535092"/>
            <a:ext cx="0" cy="107722"/>
          </a:xfrm>
          <a:prstGeom prst="line">
            <a:avLst/>
          </a:prstGeom>
          <a:ln w="31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phic 8">
            <a:extLst>
              <a:ext uri="{FF2B5EF4-FFF2-40B4-BE49-F238E27FC236}">
                <a16:creationId xmlns:a16="http://schemas.microsoft.com/office/drawing/2014/main" id="{021AE543-F28C-8590-FE0C-D9F184378246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0349641" y="-160986"/>
            <a:ext cx="1647854" cy="1076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814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  <p:sldLayoutId id="2147483711" r:id="rId21"/>
    <p:sldLayoutId id="2147483712" r:id="rId22"/>
    <p:sldLayoutId id="2147483713" r:id="rId23"/>
    <p:sldLayoutId id="2147483714" r:id="rId24"/>
    <p:sldLayoutId id="2147483715" r:id="rId2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4013" indent="-176213" algn="l" defTabSz="914400" rtl="0" eaLnBrk="1" latinLnBrk="0" hangingPunct="1">
        <a:lnSpc>
          <a:spcPct val="100000"/>
        </a:lnSpc>
        <a:spcBef>
          <a:spcPts val="600"/>
        </a:spcBef>
        <a:buSzPct val="100000"/>
        <a:buFont typeface="Univers Condensed" panose="020B0506020202050204" pitchFamily="34" charset="0"/>
        <a:buChar char="◦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7325" algn="l" defTabSz="914400" rtl="0" eaLnBrk="1" latinLnBrk="0" hangingPunct="1">
        <a:lnSpc>
          <a:spcPct val="100000"/>
        </a:lnSpc>
        <a:spcBef>
          <a:spcPts val="600"/>
        </a:spcBef>
        <a:buFont typeface="Univers Condensed" panose="020B0506020202050204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77800" algn="l" defTabSz="914400" rtl="0" eaLnBrk="1" latinLnBrk="0" hangingPunct="1">
        <a:lnSpc>
          <a:spcPct val="100000"/>
        </a:lnSpc>
        <a:spcBef>
          <a:spcPts val="600"/>
        </a:spcBef>
        <a:buFont typeface="Univers Condensed" panose="020B0506020202050204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5350" indent="-176213" algn="l" defTabSz="914400" rtl="0" eaLnBrk="1" latinLnBrk="0" hangingPunct="1">
        <a:lnSpc>
          <a:spcPct val="100000"/>
        </a:lnSpc>
        <a:spcBef>
          <a:spcPts val="600"/>
        </a:spcBef>
        <a:buFont typeface="Univers Condensed" panose="020B0506020202050204" pitchFamily="34" charset="0"/>
        <a:buChar char="­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38">
          <p15:clr>
            <a:srgbClr val="F26B43"/>
          </p15:clr>
        </p15:guide>
        <p15:guide id="6" pos="238">
          <p15:clr>
            <a:srgbClr val="F26B43"/>
          </p15:clr>
        </p15:guide>
        <p15:guide id="7" orient="horz" pos="868">
          <p15:clr>
            <a:srgbClr val="F26B43"/>
          </p15:clr>
        </p15:guide>
        <p15:guide id="8" orient="horz" pos="1010">
          <p15:clr>
            <a:srgbClr val="F26B43"/>
          </p15:clr>
        </p15:guide>
        <p15:guide id="9" orient="horz" pos="3794">
          <p15:clr>
            <a:srgbClr val="F26B43"/>
          </p15:clr>
        </p15:guide>
        <p15:guide id="10" pos="744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59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59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6352"/>
            <a:ext cx="27431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83FEDA-FE0B-6344-AFDE-A384C7E53530}" type="datetimeFigureOut">
              <a:rPr lang="en-US" smtClean="0"/>
              <a:t>5/1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56352"/>
            <a:ext cx="27431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100B468-C830-EE41-A2C4-85ED5CEA61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1906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</p:sldLayoutIdLst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9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1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8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9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5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4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9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14.png"/><Relationship Id="rId5" Type="http://schemas.openxmlformats.org/officeDocument/2006/relationships/image" Target="../media/image16.png"/><Relationship Id="rId4" Type="http://schemas.openxmlformats.org/officeDocument/2006/relationships/hyperlink" Target="https://www.remove.bg/upload" TargetMode="External"/><Relationship Id="rId9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4CC238-6A31-8913-7937-D7D30B7949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583EB76-4F13-D32F-7FB1-845E2E63B4A1}"/>
              </a:ext>
            </a:extLst>
          </p:cNvPr>
          <p:cNvSpPr txBox="1"/>
          <p:nvPr/>
        </p:nvSpPr>
        <p:spPr>
          <a:xfrm>
            <a:off x="314469" y="6441866"/>
            <a:ext cx="2027352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>
              <a:spcBef>
                <a:spcPts val="1200"/>
              </a:spcBef>
              <a:buNone/>
            </a:pPr>
            <a:r>
              <a:rPr lang="en-GB" sz="900" b="0" i="0">
                <a:solidFill>
                  <a:srgbClr val="1D1D1D"/>
                </a:solidFill>
                <a:effectLst/>
                <a:latin typeface="Arial" panose="020B0604020202020204" pitchFamily="34" charset="0"/>
              </a:rPr>
              <a:t>UK-COMMPTH-2500057 </a:t>
            </a:r>
            <a:r>
              <a:rPr lang="en-GB" sz="900"/>
              <a:t>|  May 2025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DBC26A-74F1-4A03-0EA8-9DE76ADC2A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4089" y="170329"/>
            <a:ext cx="6123821" cy="6131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6446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E29409-2865-DF1E-076B-FDAFF189FF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C9AD1AB-CFB9-7E15-D2F6-2A9109924475}"/>
              </a:ext>
            </a:extLst>
          </p:cNvPr>
          <p:cNvSpPr txBox="1"/>
          <p:nvPr/>
        </p:nvSpPr>
        <p:spPr>
          <a:xfrm>
            <a:off x="314469" y="6441866"/>
            <a:ext cx="2027352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>
              <a:spcBef>
                <a:spcPts val="1200"/>
              </a:spcBef>
              <a:buNone/>
            </a:pPr>
            <a:r>
              <a:rPr lang="en-GB" sz="900" b="0" i="0">
                <a:solidFill>
                  <a:srgbClr val="1D1D1D"/>
                </a:solidFill>
                <a:effectLst/>
                <a:latin typeface="Arial" panose="020B0604020202020204" pitchFamily="34" charset="0"/>
              </a:rPr>
              <a:t>UK-COMMPTH-2500057 </a:t>
            </a:r>
            <a:r>
              <a:rPr lang="en-GB" sz="900"/>
              <a:t>|  May 2025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130BE4F-DC81-81B6-E877-E816BFD4C0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2968" y="86280"/>
            <a:ext cx="6216280" cy="6265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2930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0C7848-FC9D-FE4A-2577-72AA6029F1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B338D01-62E4-E770-83DC-C6B8291EEBD0}"/>
              </a:ext>
            </a:extLst>
          </p:cNvPr>
          <p:cNvSpPr txBox="1"/>
          <p:nvPr/>
        </p:nvSpPr>
        <p:spPr>
          <a:xfrm>
            <a:off x="314469" y="6441866"/>
            <a:ext cx="2027352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>
              <a:spcBef>
                <a:spcPts val="1200"/>
              </a:spcBef>
              <a:buNone/>
            </a:pPr>
            <a:r>
              <a:rPr lang="en-GB" sz="900" b="0" i="0">
                <a:solidFill>
                  <a:srgbClr val="1D1D1D"/>
                </a:solidFill>
                <a:effectLst/>
                <a:latin typeface="Arial" panose="020B0604020202020204" pitchFamily="34" charset="0"/>
              </a:rPr>
              <a:t>UK-COMMPTH-2500057 </a:t>
            </a:r>
            <a:r>
              <a:rPr lang="en-GB" sz="900"/>
              <a:t>|  May 2025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6D92322-B53A-6301-51D4-A71E31A435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4366" y="421340"/>
            <a:ext cx="5783268" cy="5790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4108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8E536B-AB46-AAB9-01EA-9B1E3A8342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7527414-6A24-519B-DF6D-9D72370ADAE4}"/>
              </a:ext>
            </a:extLst>
          </p:cNvPr>
          <p:cNvSpPr txBox="1"/>
          <p:nvPr/>
        </p:nvSpPr>
        <p:spPr>
          <a:xfrm>
            <a:off x="314469" y="6441866"/>
            <a:ext cx="2027352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>
              <a:spcBef>
                <a:spcPts val="1200"/>
              </a:spcBef>
              <a:buNone/>
            </a:pPr>
            <a:r>
              <a:rPr lang="en-GB" sz="900" b="0" i="0">
                <a:solidFill>
                  <a:srgbClr val="1D1D1D"/>
                </a:solidFill>
                <a:effectLst/>
                <a:latin typeface="Arial" panose="020B0604020202020204" pitchFamily="34" charset="0"/>
              </a:rPr>
              <a:t>UK-COMMPTH-2500057 </a:t>
            </a:r>
            <a:r>
              <a:rPr lang="en-GB" sz="900"/>
              <a:t>|  May 2025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85C28B2-13E3-07E8-D3FD-A531CA048C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60113" y="234149"/>
            <a:ext cx="6071774" cy="6103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3509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22D97C-E38D-F8DD-FA02-E87C153669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235C9E8-C78D-EFF7-46B3-FB80ABBB3D97}"/>
              </a:ext>
            </a:extLst>
          </p:cNvPr>
          <p:cNvSpPr txBox="1"/>
          <p:nvPr/>
        </p:nvSpPr>
        <p:spPr>
          <a:xfrm>
            <a:off x="314469" y="6441866"/>
            <a:ext cx="2027352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>
              <a:spcBef>
                <a:spcPts val="1200"/>
              </a:spcBef>
              <a:buNone/>
            </a:pPr>
            <a:r>
              <a:rPr lang="en-GB" sz="900" b="0" i="0">
                <a:solidFill>
                  <a:srgbClr val="1D1D1D"/>
                </a:solidFill>
                <a:effectLst/>
                <a:latin typeface="Arial" panose="020B0604020202020204" pitchFamily="34" charset="0"/>
              </a:rPr>
              <a:t>UK-COMMPTH-2500057 </a:t>
            </a:r>
            <a:r>
              <a:rPr lang="en-GB" sz="900"/>
              <a:t>|  May 2025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CED3F69-9111-B6EE-EC89-C1B5624CC5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68717" y="117307"/>
            <a:ext cx="6454565" cy="6463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4783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4A8C3F-2E47-9CAC-1733-012F5BCB5B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6842A6-0805-5E1D-4A8F-498A060025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9585"/>
            <a:fld id="{6CED83CB-BDC9-9E47-818B-4E29D8446400}" type="slidenum">
              <a:rPr lang="en-US" sz="1000">
                <a:solidFill>
                  <a:srgbClr val="0F7BA0"/>
                </a:solidFill>
              </a:rPr>
              <a:pPr defTabSz="609585"/>
              <a:t>6</a:t>
            </a:fld>
            <a:endParaRPr lang="en-US" sz="1000">
              <a:solidFill>
                <a:srgbClr val="0F7BA0"/>
              </a:solidFill>
            </a:endParaRPr>
          </a:p>
        </p:txBody>
      </p:sp>
      <p:pic>
        <p:nvPicPr>
          <p:cNvPr id="14" name="Picture 13" descr="A logo with text and leaves&#10;&#10;Description automatically generated">
            <a:extLst>
              <a:ext uri="{FF2B5EF4-FFF2-40B4-BE49-F238E27FC236}">
                <a16:creationId xmlns:a16="http://schemas.microsoft.com/office/drawing/2014/main" id="{898965DF-A7DB-C5D8-8492-1A49663BBD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716" y="231058"/>
            <a:ext cx="1401432" cy="994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5F4E818-CADF-8957-056D-FE19224A8F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69" y="1381356"/>
            <a:ext cx="5787214" cy="3206187"/>
          </a:xfrm>
        </p:spPr>
        <p:txBody>
          <a:bodyPr>
            <a:normAutofit fontScale="90000"/>
          </a:bodyPr>
          <a:lstStyle/>
          <a:p>
            <a:pPr>
              <a:lnSpc>
                <a:spcPct val="114000"/>
              </a:lnSpc>
            </a:pPr>
            <a:r>
              <a:rPr lang="en-US" sz="250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Making a bespoke #MyHypoparaButterfly</a:t>
            </a:r>
            <a:br>
              <a:rPr lang="en-US" sz="250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</a:br>
            <a:br>
              <a:rPr lang="en-US" sz="250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</a:br>
            <a:br>
              <a:rPr lang="en-US" sz="250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</a:br>
            <a:br>
              <a:rPr lang="en-US" sz="250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</a:br>
            <a:br>
              <a:rPr lang="en-US" sz="250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</a:br>
            <a:br>
              <a:rPr lang="en-US" sz="250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</a:br>
            <a:endParaRPr lang="en-US" sz="2500">
              <a:solidFill>
                <a:schemeClr val="accent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B7FE31C-BBB3-D55B-1F73-A09866EC8525}"/>
              </a:ext>
            </a:extLst>
          </p:cNvPr>
          <p:cNvSpPr txBox="1"/>
          <p:nvPr/>
        </p:nvSpPr>
        <p:spPr>
          <a:xfrm>
            <a:off x="466553" y="1983718"/>
            <a:ext cx="3081989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200">
                <a:solidFill>
                  <a:schemeClr val="accent2"/>
                </a:solidFill>
                <a:latin typeface="+mn-lt"/>
                <a:cs typeface="Arial" panose="020B0604020202020204" pitchFamily="34" charset="0"/>
              </a:rPr>
              <a:t>Take or select an image of yourself</a:t>
            </a:r>
            <a:r>
              <a:rPr lang="en-US" sz="1200">
                <a:solidFill>
                  <a:schemeClr val="accent2"/>
                </a:solidFill>
                <a:cs typeface="Arial" panose="020B0604020202020204" pitchFamily="34" charset="0"/>
              </a:rPr>
              <a:t>, ideally from waist-up. </a:t>
            </a:r>
            <a:endParaRPr lang="en-US" sz="1200">
              <a:solidFill>
                <a:schemeClr val="accent2"/>
              </a:solidFill>
              <a:latin typeface="+mn-lt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200">
                <a:solidFill>
                  <a:schemeClr val="accent2"/>
                </a:solidFill>
                <a:latin typeface="+mn-lt"/>
                <a:cs typeface="Arial" panose="020B0604020202020204" pitchFamily="34" charset="0"/>
              </a:rPr>
              <a:t>Crop the image into a square, of as high quality as possible. </a:t>
            </a:r>
            <a:r>
              <a:rPr lang="en-US" sz="1200">
                <a:solidFill>
                  <a:schemeClr val="accent2"/>
                </a:solidFill>
                <a:cs typeface="Arial" panose="020B0604020202020204" pitchFamily="34" charset="0"/>
              </a:rPr>
              <a:t>Make sure your face is in the middle of the crop and that there is plenty of space around you.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200">
                <a:solidFill>
                  <a:schemeClr val="accent2"/>
                </a:solidFill>
                <a:cs typeface="Arial" panose="020B0604020202020204" pitchFamily="34" charset="0"/>
              </a:rPr>
              <a:t>Remove the background of your selected photo using </a:t>
            </a:r>
            <a:r>
              <a:rPr lang="en-GB" sz="1200">
                <a:solidFill>
                  <a:schemeClr val="accent2"/>
                </a:solidFill>
                <a:cs typeface="Arial" panose="020B0604020202020204" pitchFamily="34" charset="0"/>
                <a:hlinkClick r:id="rId4"/>
              </a:rPr>
              <a:t>https://www.remove.bg/upload</a:t>
            </a:r>
            <a:r>
              <a:rPr lang="en-GB" sz="1200">
                <a:solidFill>
                  <a:schemeClr val="accent2"/>
                </a:solidFill>
                <a:cs typeface="Arial" panose="020B0604020202020204" pitchFamily="34" charset="0"/>
              </a:rPr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200">
                <a:solidFill>
                  <a:schemeClr val="accent2"/>
                </a:solidFill>
                <a:cs typeface="Arial" panose="020B0604020202020204" pitchFamily="34" charset="0"/>
              </a:rPr>
              <a:t>Open the pre-made butterfly background slide. Choose from a range of colours.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200">
                <a:solidFill>
                  <a:schemeClr val="accent2"/>
                </a:solidFill>
                <a:cs typeface="Arial" panose="020B0604020202020204" pitchFamily="34" charset="0"/>
              </a:rPr>
              <a:t>Upload your image without the background. Position the image in the middle of the butterfly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200">
                <a:solidFill>
                  <a:schemeClr val="accent2"/>
                </a:solidFill>
                <a:latin typeface="+mn-lt"/>
                <a:cs typeface="Arial" panose="020B0604020202020204" pitchFamily="34" charset="0"/>
              </a:rPr>
              <a:t>Download your image and p</a:t>
            </a:r>
            <a:r>
              <a:rPr lang="en-US" sz="1200">
                <a:solidFill>
                  <a:schemeClr val="accent2"/>
                </a:solidFill>
                <a:cs typeface="Arial" panose="020B0604020202020204" pitchFamily="34" charset="0"/>
              </a:rPr>
              <a:t>ost onto your socials.</a:t>
            </a:r>
            <a:endParaRPr lang="en-GB" sz="1200"/>
          </a:p>
          <a:p>
            <a:pPr marL="342900" indent="-342900">
              <a:buFont typeface="+mj-lt"/>
              <a:buAutoNum type="arabicPeriod"/>
            </a:pPr>
            <a:endParaRPr lang="en-US" sz="1200">
              <a:solidFill>
                <a:schemeClr val="accent2"/>
              </a:solidFill>
              <a:cs typeface="Arial" panose="020B0604020202020204" pitchFamily="34" charset="0"/>
            </a:endParaRPr>
          </a:p>
          <a:p>
            <a:endParaRPr lang="en-US" sz="1200">
              <a:solidFill>
                <a:schemeClr val="accent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D138239-AEB9-8D58-FB56-B94DB4630DA9}"/>
              </a:ext>
            </a:extLst>
          </p:cNvPr>
          <p:cNvSpPr/>
          <p:nvPr/>
        </p:nvSpPr>
        <p:spPr>
          <a:xfrm>
            <a:off x="7807946" y="242572"/>
            <a:ext cx="2257276" cy="67757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txBody>
          <a:bodyPr vert="horz" lIns="72000" tIns="72000" rIns="72000" bIns="72000" rtlCol="0" anchor="ctr">
            <a:noAutofit/>
          </a:bodyPr>
          <a:lstStyle/>
          <a:p>
            <a:pPr algn="ctr">
              <a:spcBef>
                <a:spcPts val="1200"/>
              </a:spcBef>
            </a:pPr>
            <a:r>
              <a:rPr lang="en-GB" b="1">
                <a:solidFill>
                  <a:schemeClr val="bg1"/>
                </a:solidFill>
              </a:rPr>
              <a:t>Option 1</a:t>
            </a:r>
            <a:br>
              <a:rPr lang="en-GB" b="1">
                <a:solidFill>
                  <a:schemeClr val="bg1"/>
                </a:solidFill>
              </a:rPr>
            </a:br>
            <a:r>
              <a:rPr lang="en-GB" i="1">
                <a:solidFill>
                  <a:schemeClr val="bg1"/>
                </a:solidFill>
              </a:rPr>
              <a:t>How to us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A65287C-C44D-1C7A-9F95-8B8CB66C13BE}"/>
              </a:ext>
            </a:extLst>
          </p:cNvPr>
          <p:cNvSpPr txBox="1"/>
          <p:nvPr/>
        </p:nvSpPr>
        <p:spPr>
          <a:xfrm>
            <a:off x="776177" y="6527398"/>
            <a:ext cx="557395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indent="0" algn="l">
              <a:spcBef>
                <a:spcPts val="1200"/>
              </a:spcBef>
              <a:buNone/>
            </a:pPr>
            <a:r>
              <a:rPr lang="en-GB" sz="1400" b="0" i="0">
                <a:solidFill>
                  <a:srgbClr val="1D1D1D"/>
                </a:solidFill>
                <a:effectLst/>
                <a:latin typeface="Arial" panose="020B0604020202020204" pitchFamily="34" charset="0"/>
              </a:rPr>
              <a:t>UK-COMMPTH-2500057 </a:t>
            </a:r>
            <a:r>
              <a:rPr lang="en-GB" sz="1400"/>
              <a:t>|  May 2025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AFF4325-4FB7-C2F5-D8EA-BDDD2E8C20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16309" y="3900713"/>
            <a:ext cx="2673181" cy="267669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686826E-ED31-C39E-593C-1AC7D694DE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25379" y="1167190"/>
            <a:ext cx="2661088" cy="266458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89A5846-3267-0446-4388-ED4FACC038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61715" y="1167190"/>
            <a:ext cx="2643635" cy="266458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4EECDA5-AEB4-317E-0618-491AAE6593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17896" y="3900713"/>
            <a:ext cx="2650565" cy="266458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A389B9F-7123-882B-BA07-C4FCE8CB83E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93314" y="2397713"/>
            <a:ext cx="2643635" cy="2780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818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35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scendis Pharma">
  <a:themeElements>
    <a:clrScheme name="231215 Ascendis Pharma">
      <a:dk1>
        <a:srgbClr val="494949"/>
      </a:dk1>
      <a:lt1>
        <a:srgbClr val="FFFFFF"/>
      </a:lt1>
      <a:dk2>
        <a:srgbClr val="000000"/>
      </a:dk2>
      <a:lt2>
        <a:srgbClr val="FFFFFF"/>
      </a:lt2>
      <a:accent1>
        <a:srgbClr val="008EB0"/>
      </a:accent1>
      <a:accent2>
        <a:srgbClr val="201A57"/>
      </a:accent2>
      <a:accent3>
        <a:srgbClr val="39A869"/>
      </a:accent3>
      <a:accent4>
        <a:srgbClr val="0D7370"/>
      </a:accent4>
      <a:accent5>
        <a:srgbClr val="7ECEDB"/>
      </a:accent5>
      <a:accent6>
        <a:srgbClr val="6640A2"/>
      </a:accent6>
      <a:hlink>
        <a:srgbClr val="39A869"/>
      </a:hlink>
      <a:folHlink>
        <a:srgbClr val="0D7370"/>
      </a:folHlink>
    </a:clrScheme>
    <a:fontScheme name="2231029_Ascendis Pharma">
      <a:majorFont>
        <a:latin typeface="Univers Light"/>
        <a:ea typeface=""/>
        <a:cs typeface=""/>
      </a:majorFont>
      <a:minorFont>
        <a:latin typeface="Univer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vert="horz" lIns="72000" tIns="72000" rIns="72000" bIns="72000" rtlCol="0" anchor="t">
        <a:noAutofit/>
      </a:bodyPr>
      <a:lstStyle>
        <a:defPPr algn="l">
          <a:spcBef>
            <a:spcPts val="1200"/>
          </a:spcBef>
          <a:defRPr sz="1400" dirty="0">
            <a:solidFill>
              <a:schemeClr val="bg1"/>
            </a:solidFill>
          </a:defRPr>
        </a:defPPr>
      </a:lst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spcBef>
            <a:spcPts val="1200"/>
          </a:spcBef>
          <a:buNone/>
          <a:defRPr sz="1400" dirty="0" err="1" smtClean="0"/>
        </a:defPPr>
      </a:lstStyle>
    </a:txDef>
  </a:objectDefaults>
  <a:extraClrSchemeLst/>
  <a:custClrLst>
    <a:custClr name="Highlight 1">
      <a:srgbClr val="B29FD0"/>
    </a:custClr>
    <a:custClr name="Highlight 2">
      <a:srgbClr val="FF875E"/>
    </a:custClr>
    <a:custClr name="Highlight 3">
      <a:srgbClr val="FFC3AE"/>
    </a:custClr>
    <a:custClr name="Highlight 4">
      <a:srgbClr val="9C5494"/>
    </a:custClr>
    <a:custClr name="Highlight 5">
      <a:srgbClr val="CDA9C9"/>
    </a:custClr>
    <a:custClr name="Highlight 6">
      <a:srgbClr val="FFC752"/>
    </a:custClr>
    <a:custClr name="Highlight 7">
      <a:srgbClr val="FFE3A8"/>
    </a:custClr>
    <a:custClr name="Highlight 8">
      <a:srgbClr val="D9481C"/>
    </a:custClr>
    <a:custClr name="Highlight 9">
      <a:srgbClr val="ECA38D"/>
    </a:custClr>
    <a:custClr name=" ">
      <a:srgbClr val="FFFFFF"/>
    </a:custClr>
    <a:custClr name="Extra dark grey">
      <a:srgbClr val="494949"/>
    </a:custClr>
    <a:custClr name="Dark grey">
      <a:srgbClr val="7B7B7B"/>
    </a:custClr>
    <a:custClr name="Medium grey">
      <a:srgbClr val="A7A7A7"/>
    </a:custClr>
    <a:custClr name="Light grey">
      <a:srgbClr val="CFCFCF"/>
    </a:custClr>
    <a:custClr name="Extra light grey">
      <a:srgbClr val="EDEDE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Presentation1" id="{232A2C45-6AA7-48CF-994B-C6677408573A}" vid="{56086B8A-A6E1-400D-ADCA-AE5CFC1D9E3B}"/>
    </a:ext>
  </a:extLst>
</a:theme>
</file>

<file path=ppt/theme/theme2.xml><?xml version="1.0" encoding="utf-8"?>
<a:theme xmlns:a="http://schemas.openxmlformats.org/drawingml/2006/main" name="1_Ascendis Pharma">
  <a:themeElements>
    <a:clrScheme name="231215 Ascendis Pharma">
      <a:dk1>
        <a:srgbClr val="494949"/>
      </a:dk1>
      <a:lt1>
        <a:srgbClr val="FFFFFF"/>
      </a:lt1>
      <a:dk2>
        <a:srgbClr val="000000"/>
      </a:dk2>
      <a:lt2>
        <a:srgbClr val="FFFFFF"/>
      </a:lt2>
      <a:accent1>
        <a:srgbClr val="008EB0"/>
      </a:accent1>
      <a:accent2>
        <a:srgbClr val="201A57"/>
      </a:accent2>
      <a:accent3>
        <a:srgbClr val="39A869"/>
      </a:accent3>
      <a:accent4>
        <a:srgbClr val="0D7370"/>
      </a:accent4>
      <a:accent5>
        <a:srgbClr val="7ECEDB"/>
      </a:accent5>
      <a:accent6>
        <a:srgbClr val="6640A2"/>
      </a:accent6>
      <a:hlink>
        <a:srgbClr val="39A869"/>
      </a:hlink>
      <a:folHlink>
        <a:srgbClr val="0D7370"/>
      </a:folHlink>
    </a:clrScheme>
    <a:fontScheme name="2231029_Ascendis Pharma">
      <a:majorFont>
        <a:latin typeface="Univers Light"/>
        <a:ea typeface=""/>
        <a:cs typeface=""/>
      </a:majorFont>
      <a:minorFont>
        <a:latin typeface="Univer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vert="horz" lIns="72000" tIns="72000" rIns="72000" bIns="72000" rtlCol="0" anchor="t">
        <a:noAutofit/>
      </a:bodyPr>
      <a:lstStyle>
        <a:defPPr algn="l">
          <a:spcBef>
            <a:spcPts val="1200"/>
          </a:spcBef>
          <a:defRPr sz="1400" dirty="0">
            <a:solidFill>
              <a:schemeClr val="bg1"/>
            </a:solidFill>
          </a:defRPr>
        </a:defPPr>
      </a:lst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 marL="0" indent="0" algn="l">
          <a:spcBef>
            <a:spcPts val="1200"/>
          </a:spcBef>
          <a:buNone/>
          <a:defRPr sz="1400" dirty="0" err="1" smtClean="0"/>
        </a:defPPr>
      </a:lstStyle>
    </a:txDef>
  </a:objectDefaults>
  <a:extraClrSchemeLst/>
  <a:custClrLst>
    <a:custClr name="Highlight 1">
      <a:srgbClr val="B29FD0"/>
    </a:custClr>
    <a:custClr name="Highlight 2">
      <a:srgbClr val="FF875E"/>
    </a:custClr>
    <a:custClr name="Highlight 3">
      <a:srgbClr val="FFC3AE"/>
    </a:custClr>
    <a:custClr name="Highlight 4">
      <a:srgbClr val="9C5494"/>
    </a:custClr>
    <a:custClr name="Highlight 5">
      <a:srgbClr val="CDA9C9"/>
    </a:custClr>
    <a:custClr name="Highlight 6">
      <a:srgbClr val="FFC752"/>
    </a:custClr>
    <a:custClr name="Highlight 7">
      <a:srgbClr val="FFE3A8"/>
    </a:custClr>
    <a:custClr name="Highlight 8">
      <a:srgbClr val="D9481C"/>
    </a:custClr>
    <a:custClr name="Highlight 9">
      <a:srgbClr val="ECA38D"/>
    </a:custClr>
    <a:custClr name=" ">
      <a:srgbClr val="FFFFFF"/>
    </a:custClr>
    <a:custClr name="Extra dark grey">
      <a:srgbClr val="494949"/>
    </a:custClr>
    <a:custClr name="Dark grey">
      <a:srgbClr val="7B7B7B"/>
    </a:custClr>
    <a:custClr name="Medium grey">
      <a:srgbClr val="A7A7A7"/>
    </a:custClr>
    <a:custClr name="Light grey">
      <a:srgbClr val="CFCFCF"/>
    </a:custClr>
    <a:custClr name="Extra light grey">
      <a:srgbClr val="EDEDE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Presentation1" id="{232A2C45-6AA7-48CF-994B-C6677408573A}" vid="{56086B8A-A6E1-400D-ADCA-AE5CFC1D9E3B}"/>
    </a:ext>
  </a:extLst>
</a:theme>
</file>

<file path=ppt/theme/theme3.xml><?xml version="1.0" encoding="utf-8"?>
<a:theme xmlns:a="http://schemas.openxmlformats.org/drawingml/2006/main" name="Office Theme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Office Them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Office Theme">
  <a:themeElements>
    <a:clrScheme name="231215 Ascendis Pharma">
      <a:dk1>
        <a:srgbClr val="494949"/>
      </a:dk1>
      <a:lt1>
        <a:srgbClr val="FFFFFF"/>
      </a:lt1>
      <a:dk2>
        <a:srgbClr val="000000"/>
      </a:dk2>
      <a:lt2>
        <a:srgbClr val="FFFFFF"/>
      </a:lt2>
      <a:accent1>
        <a:srgbClr val="008EB0"/>
      </a:accent1>
      <a:accent2>
        <a:srgbClr val="201A57"/>
      </a:accent2>
      <a:accent3>
        <a:srgbClr val="39A869"/>
      </a:accent3>
      <a:accent4>
        <a:srgbClr val="0D7370"/>
      </a:accent4>
      <a:accent5>
        <a:srgbClr val="7ECEDB"/>
      </a:accent5>
      <a:accent6>
        <a:srgbClr val="6640A2"/>
      </a:accent6>
      <a:hlink>
        <a:srgbClr val="39A869"/>
      </a:hlink>
      <a:folHlink>
        <a:srgbClr val="0D7370"/>
      </a:folHlink>
    </a:clrScheme>
    <a:fontScheme name="2231029_Ascendis Pharma">
      <a:majorFont>
        <a:latin typeface="Univers Light"/>
        <a:ea typeface=""/>
        <a:cs typeface=""/>
      </a:majorFont>
      <a:minorFont>
        <a:latin typeface="Univer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Highlight 1">
      <a:srgbClr val="B29FD0"/>
    </a:custClr>
    <a:custClr name="Highlight 2">
      <a:srgbClr val="FF875E"/>
    </a:custClr>
    <a:custClr name="Highlight 3">
      <a:srgbClr val="FFC3AE"/>
    </a:custClr>
    <a:custClr name="Highlight 4">
      <a:srgbClr val="9C5494"/>
    </a:custClr>
    <a:custClr name="Highlight 5">
      <a:srgbClr val="CDA9C9"/>
    </a:custClr>
    <a:custClr name="Highlight 6">
      <a:srgbClr val="FFC752"/>
    </a:custClr>
    <a:custClr name="Highlight 7">
      <a:srgbClr val="FFE3A8"/>
    </a:custClr>
    <a:custClr name="Highlight 8">
      <a:srgbClr val="D9481C"/>
    </a:custClr>
    <a:custClr name="Highlight 9">
      <a:srgbClr val="ECA38D"/>
    </a:custClr>
    <a:custClr name=" ">
      <a:srgbClr val="FFFFFF"/>
    </a:custClr>
    <a:custClr name="Extra dark grey">
      <a:srgbClr val="494949"/>
    </a:custClr>
    <a:custClr name="Dark grey">
      <a:srgbClr val="7B7B7B"/>
    </a:custClr>
    <a:custClr name="Medium grey">
      <a:srgbClr val="A7A7A7"/>
    </a:custClr>
    <a:custClr name="Light grey">
      <a:srgbClr val="CFCFCF"/>
    </a:custClr>
    <a:custClr name="Extra light grey">
      <a:srgbClr val="EDEDE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231215 Ascendis Pharma">
      <a:dk1>
        <a:srgbClr val="494949"/>
      </a:dk1>
      <a:lt1>
        <a:srgbClr val="FFFFFF"/>
      </a:lt1>
      <a:dk2>
        <a:srgbClr val="000000"/>
      </a:dk2>
      <a:lt2>
        <a:srgbClr val="FFFFFF"/>
      </a:lt2>
      <a:accent1>
        <a:srgbClr val="008EB0"/>
      </a:accent1>
      <a:accent2>
        <a:srgbClr val="201A57"/>
      </a:accent2>
      <a:accent3>
        <a:srgbClr val="39A869"/>
      </a:accent3>
      <a:accent4>
        <a:srgbClr val="0D7370"/>
      </a:accent4>
      <a:accent5>
        <a:srgbClr val="7ECEDB"/>
      </a:accent5>
      <a:accent6>
        <a:srgbClr val="6640A2"/>
      </a:accent6>
      <a:hlink>
        <a:srgbClr val="39A869"/>
      </a:hlink>
      <a:folHlink>
        <a:srgbClr val="0D7370"/>
      </a:folHlink>
    </a:clrScheme>
    <a:fontScheme name="2231029_Ascendis Pharma">
      <a:majorFont>
        <a:latin typeface="Univers Light"/>
        <a:ea typeface=""/>
        <a:cs typeface=""/>
      </a:majorFont>
      <a:minorFont>
        <a:latin typeface="Univer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Highlight 1">
      <a:srgbClr val="B29FD0"/>
    </a:custClr>
    <a:custClr name="Highlight 2">
      <a:srgbClr val="FF875E"/>
    </a:custClr>
    <a:custClr name="Highlight 3">
      <a:srgbClr val="FFC3AE"/>
    </a:custClr>
    <a:custClr name="Highlight 4">
      <a:srgbClr val="9C5494"/>
    </a:custClr>
    <a:custClr name="Highlight 5">
      <a:srgbClr val="CDA9C9"/>
    </a:custClr>
    <a:custClr name="Highlight 6">
      <a:srgbClr val="FFC752"/>
    </a:custClr>
    <a:custClr name="Highlight 7">
      <a:srgbClr val="FFE3A8"/>
    </a:custClr>
    <a:custClr name="Highlight 8">
      <a:srgbClr val="D9481C"/>
    </a:custClr>
    <a:custClr name="Highlight 9">
      <a:srgbClr val="ECA38D"/>
    </a:custClr>
    <a:custClr name=" ">
      <a:srgbClr val="FFFFFF"/>
    </a:custClr>
    <a:custClr name="Extra dark grey">
      <a:srgbClr val="494949"/>
    </a:custClr>
    <a:custClr name="Dark grey">
      <a:srgbClr val="7B7B7B"/>
    </a:custClr>
    <a:custClr name="Medium grey">
      <a:srgbClr val="A7A7A7"/>
    </a:custClr>
    <a:custClr name="Light grey">
      <a:srgbClr val="CFCFCF"/>
    </a:custClr>
    <a:custClr name="Extra light grey">
      <a:srgbClr val="EDEDED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5E3D73AFEEEA84AB6A38E0F709DFF41" ma:contentTypeVersion="21" ma:contentTypeDescription="Create a new document." ma:contentTypeScope="" ma:versionID="2c29231c415c01645553875719fc8092">
  <xsd:schema xmlns:xsd="http://www.w3.org/2001/XMLSchema" xmlns:xs="http://www.w3.org/2001/XMLSchema" xmlns:p="http://schemas.microsoft.com/office/2006/metadata/properties" xmlns:ns2="a2353b72-b7c2-4c13-9fec-71cc1478a4eb" xmlns:ns3="106f710a-c188-4101-8326-7f7e4d41bdd9" xmlns:ns4="197ec738-800b-4526-9d47-e2d530adb55a" targetNamespace="http://schemas.microsoft.com/office/2006/metadata/properties" ma:root="true" ma:fieldsID="937eba04b40c1be0feab1a9f5eb960fb" ns2:_="" ns3:_="" ns4:_="">
    <xsd:import namespace="a2353b72-b7c2-4c13-9fec-71cc1478a4eb"/>
    <xsd:import namespace="106f710a-c188-4101-8326-7f7e4d41bdd9"/>
    <xsd:import namespace="197ec738-800b-4526-9d47-e2d530adb55a"/>
    <xsd:element name="properties">
      <xsd:complexType>
        <xsd:sequence>
          <xsd:element name="documentManagement">
            <xsd:complexType>
              <xsd:all>
                <xsd:element ref="ns2:Finalcopy_x003f_" minOccurs="0"/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353b72-b7c2-4c13-9fec-71cc1478a4eb" elementFormDefault="qualified">
    <xsd:import namespace="http://schemas.microsoft.com/office/2006/documentManagement/types"/>
    <xsd:import namespace="http://schemas.microsoft.com/office/infopath/2007/PartnerControls"/>
    <xsd:element name="Finalcopy_x003f_" ma:index="2" nillable="true" ma:displayName="Final copy?" ma:default="1" ma:format="Dropdown" ma:internalName="Finalcopy_x003f_" ma:readOnly="false">
      <xsd:simpleType>
        <xsd:restriction base="dms:Boolean"/>
      </xsd:simpleType>
    </xsd:element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description="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description="" ma:hidden="true" ma:internalName="MediaServiceKeyPoints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description="" ma:hidden="true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description="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description="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description="" ma:hidden="true" ma:internalName="MediaServiceOCR" ma:readOnly="true">
      <xsd:simpleType>
        <xsd:restriction base="dms:Note"/>
      </xsd:simpleType>
    </xsd:element>
    <xsd:element name="MediaServiceLocation" ma:index="17" nillable="true" ma:displayName="Location" ma:description="" ma:hidden="true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description="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fad5c211-42a8-46cd-86d9-c666a08863f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description="" ma:hidden="true" ma:internalName="MediaServiceSearchProperties" ma:readOnly="true">
      <xsd:simpleType>
        <xsd:restriction base="dms:Note"/>
      </xsd:simpleType>
    </xsd:element>
    <xsd:element name="MediaServiceBillingMetadata" ma:index="27" nillable="true" ma:displayName="MediaServiceBillingMetadata" ma:description="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6f710a-c188-4101-8326-7f7e4d41bdd9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description="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description="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7ec738-800b-4526-9d47-e2d530adb55a" elementFormDefault="qualified">
    <xsd:import namespace="http://schemas.microsoft.com/office/2006/documentManagement/types"/>
    <xsd:import namespace="http://schemas.microsoft.com/office/infopath/2007/PartnerControls"/>
    <xsd:element name="TaxCatchAll" ma:index="24" nillable="true" ma:displayName="Taxonomy Catch All Column" ma:hidden="true" ma:list="{7a9147fc-5ec2-4c5d-a467-901ae249f3bc}" ma:internalName="TaxCatchAll" ma:showField="CatchAllData" ma:web="197ec738-800b-4526-9d47-e2d530adb55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97ec738-800b-4526-9d47-e2d530adb55a" xsi:nil="true"/>
    <lcf76f155ced4ddcb4097134ff3c332f xmlns="a2353b72-b7c2-4c13-9fec-71cc1478a4eb">
      <Terms xmlns="http://schemas.microsoft.com/office/infopath/2007/PartnerControls"/>
    </lcf76f155ced4ddcb4097134ff3c332f>
    <Finalcopy_x003f_ xmlns="a2353b72-b7c2-4c13-9fec-71cc1478a4eb">true</Finalcopy_x003f_>
  </documentManagement>
</p:properties>
</file>

<file path=customXml/itemProps1.xml><?xml version="1.0" encoding="utf-8"?>
<ds:datastoreItem xmlns:ds="http://schemas.openxmlformats.org/officeDocument/2006/customXml" ds:itemID="{CC3CB2F9-D382-4953-9230-003F2D544D40}">
  <ds:schemaRefs>
    <ds:schemaRef ds:uri="106f710a-c188-4101-8326-7f7e4d41bdd9"/>
    <ds:schemaRef ds:uri="197ec738-800b-4526-9d47-e2d530adb55a"/>
    <ds:schemaRef ds:uri="a2353b72-b7c2-4c13-9fec-71cc1478a4e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8E5017B-E149-4287-BF71-2B76ACBD058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B44F83A-07EB-48D2-9842-5998DA6117F3}">
  <ds:schemaRefs>
    <ds:schemaRef ds:uri="106f710a-c188-4101-8326-7f7e4d41bdd9"/>
    <ds:schemaRef ds:uri="197ec738-800b-4526-9d47-e2d530adb55a"/>
    <ds:schemaRef ds:uri="a2353b72-b7c2-4c13-9fec-71cc1478a4e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rporate Template</Template>
  <TotalTime>0</TotalTime>
  <Words>153</Words>
  <Application>Microsoft Office PowerPoint</Application>
  <PresentationFormat>Widescreen</PresentationFormat>
  <Paragraphs>21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ptos</vt:lpstr>
      <vt:lpstr>Aptos Display</vt:lpstr>
      <vt:lpstr>Arial</vt:lpstr>
      <vt:lpstr>Univers</vt:lpstr>
      <vt:lpstr>Univers Condensed</vt:lpstr>
      <vt:lpstr>Univers Light</vt:lpstr>
      <vt:lpstr>Ascendis Pharma</vt:lpstr>
      <vt:lpstr>1_Ascendis Pharma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aking a bespoke #MyHypoparaButterfly      </vt:lpstr>
    </vt:vector>
  </TitlesOfParts>
  <Company>Ascendis Pharm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ia Beltrão Hansen</dc:creator>
  <cp:lastModifiedBy>Reshma Parmar</cp:lastModifiedBy>
  <cp:revision>1</cp:revision>
  <dcterms:created xsi:type="dcterms:W3CDTF">2024-10-31T13:10:17Z</dcterms:created>
  <dcterms:modified xsi:type="dcterms:W3CDTF">2025-05-15T15:15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5E3D73AFEEEA84AB6A38E0F709DFF41</vt:lpwstr>
  </property>
  <property fmtid="{D5CDD505-2E9C-101B-9397-08002B2CF9AE}" pid="3" name="MediaServiceImageTags">
    <vt:lpwstr/>
  </property>
</Properties>
</file>